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Lst>
  <p:notesMasterIdLst>
    <p:notesMasterId r:id="rId23"/>
  </p:notesMasterIdLst>
  <p:sldIdLst>
    <p:sldId id="265" r:id="rId5"/>
    <p:sldId id="266" r:id="rId6"/>
    <p:sldId id="296" r:id="rId7"/>
    <p:sldId id="300" r:id="rId8"/>
    <p:sldId id="1870" r:id="rId9"/>
    <p:sldId id="301" r:id="rId10"/>
    <p:sldId id="302" r:id="rId11"/>
    <p:sldId id="268" r:id="rId12"/>
    <p:sldId id="269" r:id="rId13"/>
    <p:sldId id="299" r:id="rId14"/>
    <p:sldId id="298" r:id="rId15"/>
    <p:sldId id="270" r:id="rId16"/>
    <p:sldId id="271" r:id="rId17"/>
    <p:sldId id="272" r:id="rId18"/>
    <p:sldId id="297" r:id="rId19"/>
    <p:sldId id="1868" r:id="rId20"/>
    <p:sldId id="1871" r:id="rId21"/>
    <p:sldId id="293"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D4061A9-FCB0-4C48-AF4A-91507C378599}" v="6" dt="2024-10-15T16:20:59.675"/>
    <p1510:client id="{21D06802-9B95-4AE5-9049-923CB45A983D}" v="2" dt="2024-10-15T16:31:06.412"/>
    <p1510:client id="{3107F623-2A34-4801-9992-60E97D7440E0}" v="3" dt="2024-10-15T19:20:59.007"/>
    <p1510:client id="{4DE7DDCB-B572-4898-9CB9-D8AF885200D5}" v="85" dt="2024-10-15T17:19:05.971"/>
    <p1510:client id="{51C4E140-32A2-4F6F-AA4F-8230A481394B}" v="51" dt="2024-10-14T18:04:27.028"/>
    <p1510:client id="{58DEBA51-70A9-47F6-A576-AC1BF91FB6F8}" v="11" dt="2024-10-15T16:40:26.511"/>
    <p1510:client id="{86CD1517-B0E6-4F25-A10B-28360DF44B12}" v="2822" dt="2024-10-15T17:29:59.955"/>
    <p1510:client id="{8B57441E-E992-493E-B823-BEEA3F617887}" v="87" dt="2024-10-15T17:44:19.749"/>
    <p1510:client id="{90A705D2-3E5B-4AD9-86AB-FA5D306B0860}" v="74" dt="2024-10-14T18:01:24.142"/>
    <p1510:client id="{D5FBEA33-6F36-48C7-92EF-1E23C87A5123}" v="2" dt="2024-10-15T16:32:33.983"/>
    <p1510:client id="{F95C8CA9-6724-44A1-8598-38E47311817A}" v="3" dt="2024-10-15T17:05:04.6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uedj, Stephanie D. (she/her/hers)" userId="S::stephanie.guedj@va.gov::2a1c514f-f0ad-44c0-a4bd-b62d586cb351" providerId="AD" clId="Web-{CF8732FB-4804-4D96-8D5E-C38E137EEE0C}"/>
    <pc:docChg chg="modSld">
      <pc:chgData name="Guedj, Stephanie D. (she/her/hers)" userId="S::stephanie.guedj@va.gov::2a1c514f-f0ad-44c0-a4bd-b62d586cb351" providerId="AD" clId="Web-{CF8732FB-4804-4D96-8D5E-C38E137EEE0C}" dt="2024-10-09T19:47:29.170" v="9" actId="20577"/>
      <pc:docMkLst>
        <pc:docMk/>
      </pc:docMkLst>
      <pc:sldChg chg="modSp">
        <pc:chgData name="Guedj, Stephanie D. (she/her/hers)" userId="S::stephanie.guedj@va.gov::2a1c514f-f0ad-44c0-a4bd-b62d586cb351" providerId="AD" clId="Web-{CF8732FB-4804-4D96-8D5E-C38E137EEE0C}" dt="2024-10-09T19:47:29.170" v="9" actId="20577"/>
        <pc:sldMkLst>
          <pc:docMk/>
          <pc:sldMk cId="111468462" sldId="298"/>
        </pc:sldMkLst>
        <pc:spChg chg="mod">
          <ac:chgData name="Guedj, Stephanie D. (she/her/hers)" userId="S::stephanie.guedj@va.gov::2a1c514f-f0ad-44c0-a4bd-b62d586cb351" providerId="AD" clId="Web-{CF8732FB-4804-4D96-8D5E-C38E137EEE0C}" dt="2024-10-09T19:47:29.170" v="9" actId="20577"/>
          <ac:spMkLst>
            <pc:docMk/>
            <pc:sldMk cId="111468462" sldId="298"/>
            <ac:spMk id="2" creationId="{D717D3A6-1E80-7D90-1926-C467ED681D85}"/>
          </ac:spMkLst>
        </pc:spChg>
      </pc:sldChg>
    </pc:docChg>
  </pc:docChgLst>
  <pc:docChgLst>
    <pc:chgData name="Taylor, Prince (he/him/his)" userId="S::prince.taylor@va.gov::01ee1d6c-2e7c-4350-8df7-326785842210" providerId="AD" clId="Web-{1CC1966D-B040-29DF-7F35-8A956005BBB5}"/>
    <pc:docChg chg="addSld modSld">
      <pc:chgData name="Taylor, Prince (he/him/his)" userId="S::prince.taylor@va.gov::01ee1d6c-2e7c-4350-8df7-326785842210" providerId="AD" clId="Web-{1CC1966D-B040-29DF-7F35-8A956005BBB5}" dt="2024-10-11T13:19:35.888" v="449"/>
      <pc:docMkLst>
        <pc:docMk/>
      </pc:docMkLst>
      <pc:sldChg chg="modNotes">
        <pc:chgData name="Taylor, Prince (he/him/his)" userId="S::prince.taylor@va.gov::01ee1d6c-2e7c-4350-8df7-326785842210" providerId="AD" clId="Web-{1CC1966D-B040-29DF-7F35-8A956005BBB5}" dt="2024-10-11T12:54:18.586" v="309"/>
        <pc:sldMkLst>
          <pc:docMk/>
          <pc:sldMk cId="2343311824" sldId="265"/>
        </pc:sldMkLst>
      </pc:sldChg>
      <pc:sldChg chg="modNotes">
        <pc:chgData name="Taylor, Prince (he/him/his)" userId="S::prince.taylor@va.gov::01ee1d6c-2e7c-4350-8df7-326785842210" providerId="AD" clId="Web-{1CC1966D-B040-29DF-7F35-8A956005BBB5}" dt="2024-10-11T13:05:36.574" v="340"/>
        <pc:sldMkLst>
          <pc:docMk/>
          <pc:sldMk cId="1684426285" sldId="268"/>
        </pc:sldMkLst>
      </pc:sldChg>
      <pc:sldChg chg="modNotes">
        <pc:chgData name="Taylor, Prince (he/him/his)" userId="S::prince.taylor@va.gov::01ee1d6c-2e7c-4350-8df7-326785842210" providerId="AD" clId="Web-{1CC1966D-B040-29DF-7F35-8A956005BBB5}" dt="2024-10-11T13:19:35.888" v="449"/>
        <pc:sldMkLst>
          <pc:docMk/>
          <pc:sldMk cId="561133639" sldId="299"/>
        </pc:sldMkLst>
      </pc:sldChg>
      <pc:sldChg chg="modSp modNotes">
        <pc:chgData name="Taylor, Prince (he/him/his)" userId="S::prince.taylor@va.gov::01ee1d6c-2e7c-4350-8df7-326785842210" providerId="AD" clId="Web-{1CC1966D-B040-29DF-7F35-8A956005BBB5}" dt="2024-10-11T13:09:51.804" v="379" actId="20577"/>
        <pc:sldMkLst>
          <pc:docMk/>
          <pc:sldMk cId="397032392" sldId="300"/>
        </pc:sldMkLst>
        <pc:spChg chg="mod">
          <ac:chgData name="Taylor, Prince (he/him/his)" userId="S::prince.taylor@va.gov::01ee1d6c-2e7c-4350-8df7-326785842210" providerId="AD" clId="Web-{1CC1966D-B040-29DF-7F35-8A956005BBB5}" dt="2024-10-11T13:09:51.804" v="379" actId="20577"/>
          <ac:spMkLst>
            <pc:docMk/>
            <pc:sldMk cId="397032392" sldId="300"/>
            <ac:spMk id="4" creationId="{C465B68B-70BC-52C6-96AE-4AC9F03A7C4E}"/>
          </ac:spMkLst>
        </pc:spChg>
        <pc:spChg chg="mod">
          <ac:chgData name="Taylor, Prince (he/him/his)" userId="S::prince.taylor@va.gov::01ee1d6c-2e7c-4350-8df7-326785842210" providerId="AD" clId="Web-{1CC1966D-B040-29DF-7F35-8A956005BBB5}" dt="2024-10-11T12:20:34.261" v="208" actId="20577"/>
          <ac:spMkLst>
            <pc:docMk/>
            <pc:sldMk cId="397032392" sldId="300"/>
            <ac:spMk id="6" creationId="{12168C8D-2F43-7598-73A2-0240E783BAF6}"/>
          </ac:spMkLst>
        </pc:spChg>
      </pc:sldChg>
      <pc:sldChg chg="addSp delSp modSp add replId modNotes">
        <pc:chgData name="Taylor, Prince (he/him/his)" userId="S::prince.taylor@va.gov::01ee1d6c-2e7c-4350-8df7-326785842210" providerId="AD" clId="Web-{1CC1966D-B040-29DF-7F35-8A956005BBB5}" dt="2024-10-11T13:00:31.454" v="320" actId="20577"/>
        <pc:sldMkLst>
          <pc:docMk/>
          <pc:sldMk cId="1031976662" sldId="301"/>
        </pc:sldMkLst>
        <pc:spChg chg="mod">
          <ac:chgData name="Taylor, Prince (he/him/his)" userId="S::prince.taylor@va.gov::01ee1d6c-2e7c-4350-8df7-326785842210" providerId="AD" clId="Web-{1CC1966D-B040-29DF-7F35-8A956005BBB5}" dt="2024-10-11T13:00:31.454" v="320" actId="20577"/>
          <ac:spMkLst>
            <pc:docMk/>
            <pc:sldMk cId="1031976662" sldId="301"/>
            <ac:spMk id="4" creationId="{C465B68B-70BC-52C6-96AE-4AC9F03A7C4E}"/>
          </ac:spMkLst>
        </pc:spChg>
        <pc:spChg chg="mod">
          <ac:chgData name="Taylor, Prince (he/him/his)" userId="S::prince.taylor@va.gov::01ee1d6c-2e7c-4350-8df7-326785842210" providerId="AD" clId="Web-{1CC1966D-B040-29DF-7F35-8A956005BBB5}" dt="2024-10-11T12:05:39.673" v="94" actId="20577"/>
          <ac:spMkLst>
            <pc:docMk/>
            <pc:sldMk cId="1031976662" sldId="301"/>
            <ac:spMk id="6" creationId="{12168C8D-2F43-7598-73A2-0240E783BAF6}"/>
          </ac:spMkLst>
        </pc:spChg>
        <pc:picChg chg="add mod">
          <ac:chgData name="Taylor, Prince (he/him/his)" userId="S::prince.taylor@va.gov::01ee1d6c-2e7c-4350-8df7-326785842210" providerId="AD" clId="Web-{1CC1966D-B040-29DF-7F35-8A956005BBB5}" dt="2024-10-11T12:04:15.472" v="67" actId="14100"/>
          <ac:picMkLst>
            <pc:docMk/>
            <pc:sldMk cId="1031976662" sldId="301"/>
            <ac:picMk id="2" creationId="{37971C94-2795-3A49-8CA7-F2F7E389C35C}"/>
          </ac:picMkLst>
        </pc:picChg>
        <pc:picChg chg="add del mod">
          <ac:chgData name="Taylor, Prince (he/him/his)" userId="S::prince.taylor@va.gov::01ee1d6c-2e7c-4350-8df7-326785842210" providerId="AD" clId="Web-{1CC1966D-B040-29DF-7F35-8A956005BBB5}" dt="2024-10-11T12:03:39.363" v="63"/>
          <ac:picMkLst>
            <pc:docMk/>
            <pc:sldMk cId="1031976662" sldId="301"/>
            <ac:picMk id="5" creationId="{6814BE1F-097A-85CA-6A05-70DA3C0AA15B}"/>
          </ac:picMkLst>
        </pc:picChg>
        <pc:picChg chg="add mod">
          <ac:chgData name="Taylor, Prince (he/him/his)" userId="S::prince.taylor@va.gov::01ee1d6c-2e7c-4350-8df7-326785842210" providerId="AD" clId="Web-{1CC1966D-B040-29DF-7F35-8A956005BBB5}" dt="2024-10-11T12:04:09.456" v="65" actId="1076"/>
          <ac:picMkLst>
            <pc:docMk/>
            <pc:sldMk cId="1031976662" sldId="301"/>
            <ac:picMk id="7" creationId="{FF1EA0FD-6808-60FB-842F-9364D223EE05}"/>
          </ac:picMkLst>
        </pc:picChg>
      </pc:sldChg>
    </pc:docChg>
  </pc:docChgLst>
  <pc:docChgLst>
    <pc:chgData name="Guedj, Stephanie D. (she/her/hers)" userId="S::stephanie.guedj@va.gov::2a1c514f-f0ad-44c0-a4bd-b62d586cb351" providerId="AD" clId="Web-{58DEBA51-70A9-47F6-A576-AC1BF91FB6F8}"/>
    <pc:docChg chg="modSld">
      <pc:chgData name="Guedj, Stephanie D. (she/her/hers)" userId="S::stephanie.guedj@va.gov::2a1c514f-f0ad-44c0-a4bd-b62d586cb351" providerId="AD" clId="Web-{58DEBA51-70A9-47F6-A576-AC1BF91FB6F8}" dt="2024-10-15T16:40:26.511" v="51" actId="14100"/>
      <pc:docMkLst>
        <pc:docMk/>
      </pc:docMkLst>
      <pc:sldChg chg="modSp modNotes">
        <pc:chgData name="Guedj, Stephanie D. (she/her/hers)" userId="S::stephanie.guedj@va.gov::2a1c514f-f0ad-44c0-a4bd-b62d586cb351" providerId="AD" clId="Web-{58DEBA51-70A9-47F6-A576-AC1BF91FB6F8}" dt="2024-10-15T16:40:00.589" v="50" actId="14100"/>
        <pc:sldMkLst>
          <pc:docMk/>
          <pc:sldMk cId="491692405" sldId="1868"/>
        </pc:sldMkLst>
        <pc:spChg chg="mod">
          <ac:chgData name="Guedj, Stephanie D. (she/her/hers)" userId="S::stephanie.guedj@va.gov::2a1c514f-f0ad-44c0-a4bd-b62d586cb351" providerId="AD" clId="Web-{58DEBA51-70A9-47F6-A576-AC1BF91FB6F8}" dt="2024-10-15T16:40:00.589" v="50" actId="14100"/>
          <ac:spMkLst>
            <pc:docMk/>
            <pc:sldMk cId="491692405" sldId="1868"/>
            <ac:spMk id="5" creationId="{EA35BF4C-D70A-41D3-8778-F9548165CD55}"/>
          </ac:spMkLst>
        </pc:spChg>
      </pc:sldChg>
      <pc:sldChg chg="modSp">
        <pc:chgData name="Guedj, Stephanie D. (she/her/hers)" userId="S::stephanie.guedj@va.gov::2a1c514f-f0ad-44c0-a4bd-b62d586cb351" providerId="AD" clId="Web-{58DEBA51-70A9-47F6-A576-AC1BF91FB6F8}" dt="2024-10-15T16:40:26.511" v="51" actId="14100"/>
        <pc:sldMkLst>
          <pc:docMk/>
          <pc:sldMk cId="3377598115" sldId="1869"/>
        </pc:sldMkLst>
        <pc:spChg chg="mod">
          <ac:chgData name="Guedj, Stephanie D. (she/her/hers)" userId="S::stephanie.guedj@va.gov::2a1c514f-f0ad-44c0-a4bd-b62d586cb351" providerId="AD" clId="Web-{58DEBA51-70A9-47F6-A576-AC1BF91FB6F8}" dt="2024-10-15T16:40:26.511" v="51" actId="14100"/>
          <ac:spMkLst>
            <pc:docMk/>
            <pc:sldMk cId="3377598115" sldId="1869"/>
            <ac:spMk id="3" creationId="{D6E8C12A-D9BD-474F-AC55-B3EDF24DC27F}"/>
          </ac:spMkLst>
        </pc:spChg>
      </pc:sldChg>
    </pc:docChg>
  </pc:docChgLst>
  <pc:docChgLst>
    <pc:chgData name="Guedj, Stephanie D. (she/her/hers)" userId="S::stephanie.guedj@va.gov::2a1c514f-f0ad-44c0-a4bd-b62d586cb351" providerId="AD" clId="Web-{4A96D3DD-8CCB-41BE-8183-8BB29224116F}"/>
    <pc:docChg chg="modSld">
      <pc:chgData name="Guedj, Stephanie D. (she/her/hers)" userId="S::stephanie.guedj@va.gov::2a1c514f-f0ad-44c0-a4bd-b62d586cb351" providerId="AD" clId="Web-{4A96D3DD-8CCB-41BE-8183-8BB29224116F}" dt="2024-10-09T18:34:16.990" v="383" actId="20577"/>
      <pc:docMkLst>
        <pc:docMk/>
      </pc:docMkLst>
      <pc:sldChg chg="modSp">
        <pc:chgData name="Guedj, Stephanie D. (she/her/hers)" userId="S::stephanie.guedj@va.gov::2a1c514f-f0ad-44c0-a4bd-b62d586cb351" providerId="AD" clId="Web-{4A96D3DD-8CCB-41BE-8183-8BB29224116F}" dt="2024-10-09T18:34:16.990" v="383" actId="20577"/>
        <pc:sldMkLst>
          <pc:docMk/>
          <pc:sldMk cId="111468462" sldId="298"/>
        </pc:sldMkLst>
        <pc:spChg chg="mod">
          <ac:chgData name="Guedj, Stephanie D. (she/her/hers)" userId="S::stephanie.guedj@va.gov::2a1c514f-f0ad-44c0-a4bd-b62d586cb351" providerId="AD" clId="Web-{4A96D3DD-8CCB-41BE-8183-8BB29224116F}" dt="2024-10-09T18:34:12.803" v="382" actId="20577"/>
          <ac:spMkLst>
            <pc:docMk/>
            <pc:sldMk cId="111468462" sldId="298"/>
            <ac:spMk id="2" creationId="{D717D3A6-1E80-7D90-1926-C467ED681D85}"/>
          </ac:spMkLst>
        </pc:spChg>
        <pc:spChg chg="mod">
          <ac:chgData name="Guedj, Stephanie D. (she/her/hers)" userId="S::stephanie.guedj@va.gov::2a1c514f-f0ad-44c0-a4bd-b62d586cb351" providerId="AD" clId="Web-{4A96D3DD-8CCB-41BE-8183-8BB29224116F}" dt="2024-10-09T18:34:16.990" v="383" actId="20577"/>
          <ac:spMkLst>
            <pc:docMk/>
            <pc:sldMk cId="111468462" sldId="298"/>
            <ac:spMk id="4" creationId="{8B8A026F-6AC6-A716-5223-E5792A613118}"/>
          </ac:spMkLst>
        </pc:spChg>
      </pc:sldChg>
    </pc:docChg>
  </pc:docChgLst>
  <pc:docChgLst>
    <pc:chgData name="Guedj, Stephanie D. (she/her/hers)" userId="S::stephanie.guedj@va.gov::2a1c514f-f0ad-44c0-a4bd-b62d586cb351" providerId="AD" clId="Web-{90A705D2-3E5B-4AD9-86AB-FA5D306B0860}"/>
    <pc:docChg chg="addSld delSld modSld">
      <pc:chgData name="Guedj, Stephanie D. (she/her/hers)" userId="S::stephanie.guedj@va.gov::2a1c514f-f0ad-44c0-a4bd-b62d586cb351" providerId="AD" clId="Web-{90A705D2-3E5B-4AD9-86AB-FA5D306B0860}" dt="2024-10-14T18:01:24.142" v="66" actId="1076"/>
      <pc:docMkLst>
        <pc:docMk/>
      </pc:docMkLst>
      <pc:sldChg chg="modSp mod modClrScheme chgLayout">
        <pc:chgData name="Guedj, Stephanie D. (she/her/hers)" userId="S::stephanie.guedj@va.gov::2a1c514f-f0ad-44c0-a4bd-b62d586cb351" providerId="AD" clId="Web-{90A705D2-3E5B-4AD9-86AB-FA5D306B0860}" dt="2024-10-14T17:52:26.583" v="0"/>
        <pc:sldMkLst>
          <pc:docMk/>
          <pc:sldMk cId="2343311824" sldId="265"/>
        </pc:sldMkLst>
        <pc:spChg chg="mod ord">
          <ac:chgData name="Guedj, Stephanie D. (she/her/hers)" userId="S::stephanie.guedj@va.gov::2a1c514f-f0ad-44c0-a4bd-b62d586cb351" providerId="AD" clId="Web-{90A705D2-3E5B-4AD9-86AB-FA5D306B0860}" dt="2024-10-14T17:52:26.583" v="0"/>
          <ac:spMkLst>
            <pc:docMk/>
            <pc:sldMk cId="2343311824" sldId="265"/>
            <ac:spMk id="5" creationId="{E6368AA7-883E-4C4D-9676-69CB043DC6A4}"/>
          </ac:spMkLst>
        </pc:spChg>
      </pc:sldChg>
      <pc:sldChg chg="modSp mod modClrScheme chgLayout">
        <pc:chgData name="Guedj, Stephanie D. (she/her/hers)" userId="S::stephanie.guedj@va.gov::2a1c514f-f0ad-44c0-a4bd-b62d586cb351" providerId="AD" clId="Web-{90A705D2-3E5B-4AD9-86AB-FA5D306B0860}" dt="2024-10-14T17:52:43.630" v="2" actId="1076"/>
        <pc:sldMkLst>
          <pc:docMk/>
          <pc:sldMk cId="2809186044" sldId="266"/>
        </pc:sldMkLst>
        <pc:spChg chg="mod ord">
          <ac:chgData name="Guedj, Stephanie D. (she/her/hers)" userId="S::stephanie.guedj@va.gov::2a1c514f-f0ad-44c0-a4bd-b62d586cb351" providerId="AD" clId="Web-{90A705D2-3E5B-4AD9-86AB-FA5D306B0860}" dt="2024-10-14T17:52:35.645" v="1"/>
          <ac:spMkLst>
            <pc:docMk/>
            <pc:sldMk cId="2809186044" sldId="266"/>
            <ac:spMk id="3" creationId="{579A6915-5722-158D-6977-96239402AA9F}"/>
          </ac:spMkLst>
        </pc:spChg>
        <pc:spChg chg="mod ord">
          <ac:chgData name="Guedj, Stephanie D. (she/her/hers)" userId="S::stephanie.guedj@va.gov::2a1c514f-f0ad-44c0-a4bd-b62d586cb351" providerId="AD" clId="Web-{90A705D2-3E5B-4AD9-86AB-FA5D306B0860}" dt="2024-10-14T17:52:35.645" v="1"/>
          <ac:spMkLst>
            <pc:docMk/>
            <pc:sldMk cId="2809186044" sldId="266"/>
            <ac:spMk id="4" creationId="{C465B68B-70BC-52C6-96AE-4AC9F03A7C4E}"/>
          </ac:spMkLst>
        </pc:spChg>
        <pc:spChg chg="mod ord">
          <ac:chgData name="Guedj, Stephanie D. (she/her/hers)" userId="S::stephanie.guedj@va.gov::2a1c514f-f0ad-44c0-a4bd-b62d586cb351" providerId="AD" clId="Web-{90A705D2-3E5B-4AD9-86AB-FA5D306B0860}" dt="2024-10-14T17:52:43.630" v="2" actId="1076"/>
          <ac:spMkLst>
            <pc:docMk/>
            <pc:sldMk cId="2809186044" sldId="266"/>
            <ac:spMk id="6" creationId="{12168C8D-2F43-7598-73A2-0240E783BAF6}"/>
          </ac:spMkLst>
        </pc:spChg>
      </pc:sldChg>
      <pc:sldChg chg="modSp mod modClrScheme chgLayout">
        <pc:chgData name="Guedj, Stephanie D. (she/her/hers)" userId="S::stephanie.guedj@va.gov::2a1c514f-f0ad-44c0-a4bd-b62d586cb351" providerId="AD" clId="Web-{90A705D2-3E5B-4AD9-86AB-FA5D306B0860}" dt="2024-10-14T17:53:30.317" v="8" actId="1076"/>
        <pc:sldMkLst>
          <pc:docMk/>
          <pc:sldMk cId="1684426285" sldId="268"/>
        </pc:sldMkLst>
        <pc:spChg chg="mod ord">
          <ac:chgData name="Guedj, Stephanie D. (she/her/hers)" userId="S::stephanie.guedj@va.gov::2a1c514f-f0ad-44c0-a4bd-b62d586cb351" providerId="AD" clId="Web-{90A705D2-3E5B-4AD9-86AB-FA5D306B0860}" dt="2024-10-14T17:53:30.317" v="8" actId="1076"/>
          <ac:spMkLst>
            <pc:docMk/>
            <pc:sldMk cId="1684426285" sldId="268"/>
            <ac:spMk id="2" creationId="{2900063C-AAA6-4861-E282-447FB24D1450}"/>
          </ac:spMkLst>
        </pc:spChg>
        <pc:spChg chg="mod ord">
          <ac:chgData name="Guedj, Stephanie D. (she/her/hers)" userId="S::stephanie.guedj@va.gov::2a1c514f-f0ad-44c0-a4bd-b62d586cb351" providerId="AD" clId="Web-{90A705D2-3E5B-4AD9-86AB-FA5D306B0860}" dt="2024-10-14T17:53:21.614" v="7"/>
          <ac:spMkLst>
            <pc:docMk/>
            <pc:sldMk cId="1684426285" sldId="268"/>
            <ac:spMk id="3" creationId="{B5E15BE2-B3C1-5AD3-1C9A-936A624D4EC3}"/>
          </ac:spMkLst>
        </pc:spChg>
        <pc:spChg chg="mod ord">
          <ac:chgData name="Guedj, Stephanie D. (she/her/hers)" userId="S::stephanie.guedj@va.gov::2a1c514f-f0ad-44c0-a4bd-b62d586cb351" providerId="AD" clId="Web-{90A705D2-3E5B-4AD9-86AB-FA5D306B0860}" dt="2024-10-14T17:53:21.614" v="7"/>
          <ac:spMkLst>
            <pc:docMk/>
            <pc:sldMk cId="1684426285" sldId="268"/>
            <ac:spMk id="4" creationId="{2B73225E-6E65-6914-1078-69EBC3BED2B4}"/>
          </ac:spMkLst>
        </pc:spChg>
      </pc:sldChg>
      <pc:sldChg chg="modSp mod modClrScheme chgLayout">
        <pc:chgData name="Guedj, Stephanie D. (she/her/hers)" userId="S::stephanie.guedj@va.gov::2a1c514f-f0ad-44c0-a4bd-b62d586cb351" providerId="AD" clId="Web-{90A705D2-3E5B-4AD9-86AB-FA5D306B0860}" dt="2024-10-14T17:53:56.660" v="11" actId="1076"/>
        <pc:sldMkLst>
          <pc:docMk/>
          <pc:sldMk cId="3407364971" sldId="269"/>
        </pc:sldMkLst>
        <pc:spChg chg="mod ord">
          <ac:chgData name="Guedj, Stephanie D. (she/her/hers)" userId="S::stephanie.guedj@va.gov::2a1c514f-f0ad-44c0-a4bd-b62d586cb351" providerId="AD" clId="Web-{90A705D2-3E5B-4AD9-86AB-FA5D306B0860}" dt="2024-10-14T17:53:37.207" v="9"/>
          <ac:spMkLst>
            <pc:docMk/>
            <pc:sldMk cId="3407364971" sldId="269"/>
            <ac:spMk id="3" creationId="{0AA4286A-3D8C-5148-5EF3-04046C2412F3}"/>
          </ac:spMkLst>
        </pc:spChg>
        <pc:spChg chg="mod ord">
          <ac:chgData name="Guedj, Stephanie D. (she/her/hers)" userId="S::stephanie.guedj@va.gov::2a1c514f-f0ad-44c0-a4bd-b62d586cb351" providerId="AD" clId="Web-{90A705D2-3E5B-4AD9-86AB-FA5D306B0860}" dt="2024-10-14T17:53:37.207" v="9"/>
          <ac:spMkLst>
            <pc:docMk/>
            <pc:sldMk cId="3407364971" sldId="269"/>
            <ac:spMk id="4" creationId="{08D33560-49A6-9362-697B-B4C121E19899}"/>
          </ac:spMkLst>
        </pc:spChg>
        <pc:spChg chg="mod">
          <ac:chgData name="Guedj, Stephanie D. (she/her/hers)" userId="S::stephanie.guedj@va.gov::2a1c514f-f0ad-44c0-a4bd-b62d586cb351" providerId="AD" clId="Web-{90A705D2-3E5B-4AD9-86AB-FA5D306B0860}" dt="2024-10-14T17:53:56.660" v="11" actId="1076"/>
          <ac:spMkLst>
            <pc:docMk/>
            <pc:sldMk cId="3407364971" sldId="269"/>
            <ac:spMk id="7" creationId="{8E497AFF-031D-4874-1E27-E513F515DAC8}"/>
          </ac:spMkLst>
        </pc:spChg>
        <pc:graphicFrameChg chg="mod ord">
          <ac:chgData name="Guedj, Stephanie D. (she/her/hers)" userId="S::stephanie.guedj@va.gov::2a1c514f-f0ad-44c0-a4bd-b62d586cb351" providerId="AD" clId="Web-{90A705D2-3E5B-4AD9-86AB-FA5D306B0860}" dt="2024-10-14T17:53:51.519" v="10" actId="1076"/>
          <ac:graphicFrameMkLst>
            <pc:docMk/>
            <pc:sldMk cId="3407364971" sldId="269"/>
            <ac:graphicFrameMk id="6" creationId="{A3B83A32-3E38-9C78-5B4C-39F5CAA78BEB}"/>
          </ac:graphicFrameMkLst>
        </pc:graphicFrameChg>
      </pc:sldChg>
      <pc:sldChg chg="modSp mod modClrScheme chgLayout">
        <pc:chgData name="Guedj, Stephanie D. (she/her/hers)" userId="S::stephanie.guedj@va.gov::2a1c514f-f0ad-44c0-a4bd-b62d586cb351" providerId="AD" clId="Web-{90A705D2-3E5B-4AD9-86AB-FA5D306B0860}" dt="2024-10-14T17:55:11.253" v="21" actId="1076"/>
        <pc:sldMkLst>
          <pc:docMk/>
          <pc:sldMk cId="3099886817" sldId="270"/>
        </pc:sldMkLst>
        <pc:spChg chg="mod ord">
          <ac:chgData name="Guedj, Stephanie D. (she/her/hers)" userId="S::stephanie.guedj@va.gov::2a1c514f-f0ad-44c0-a4bd-b62d586cb351" providerId="AD" clId="Web-{90A705D2-3E5B-4AD9-86AB-FA5D306B0860}" dt="2024-10-14T17:54:59.925" v="20"/>
          <ac:spMkLst>
            <pc:docMk/>
            <pc:sldMk cId="3099886817" sldId="270"/>
            <ac:spMk id="3" creationId="{37D94DDD-D34A-BB50-A070-8AE127DDD5C9}"/>
          </ac:spMkLst>
        </pc:spChg>
        <pc:spChg chg="mod ord">
          <ac:chgData name="Guedj, Stephanie D. (she/her/hers)" userId="S::stephanie.guedj@va.gov::2a1c514f-f0ad-44c0-a4bd-b62d586cb351" providerId="AD" clId="Web-{90A705D2-3E5B-4AD9-86AB-FA5D306B0860}" dt="2024-10-14T17:54:59.925" v="20"/>
          <ac:spMkLst>
            <pc:docMk/>
            <pc:sldMk cId="3099886817" sldId="270"/>
            <ac:spMk id="4" creationId="{437895D1-1895-2822-9138-DC4424BE5898}"/>
          </ac:spMkLst>
        </pc:spChg>
        <pc:graphicFrameChg chg="mod ord">
          <ac:chgData name="Guedj, Stephanie D. (she/her/hers)" userId="S::stephanie.guedj@va.gov::2a1c514f-f0ad-44c0-a4bd-b62d586cb351" providerId="AD" clId="Web-{90A705D2-3E5B-4AD9-86AB-FA5D306B0860}" dt="2024-10-14T17:55:11.253" v="21" actId="1076"/>
          <ac:graphicFrameMkLst>
            <pc:docMk/>
            <pc:sldMk cId="3099886817" sldId="270"/>
            <ac:graphicFrameMk id="5" creationId="{F3E32E7C-4FD7-B7CC-0F73-FE8D680B39AF}"/>
          </ac:graphicFrameMkLst>
        </pc:graphicFrameChg>
      </pc:sldChg>
      <pc:sldChg chg="modSp mod modClrScheme chgLayout">
        <pc:chgData name="Guedj, Stephanie D. (she/her/hers)" userId="S::stephanie.guedj@va.gov::2a1c514f-f0ad-44c0-a4bd-b62d586cb351" providerId="AD" clId="Web-{90A705D2-3E5B-4AD9-86AB-FA5D306B0860}" dt="2024-10-14T17:55:25.659" v="23" actId="1076"/>
        <pc:sldMkLst>
          <pc:docMk/>
          <pc:sldMk cId="3529800333" sldId="271"/>
        </pc:sldMkLst>
        <pc:spChg chg="mod ord">
          <ac:chgData name="Guedj, Stephanie D. (she/her/hers)" userId="S::stephanie.guedj@va.gov::2a1c514f-f0ad-44c0-a4bd-b62d586cb351" providerId="AD" clId="Web-{90A705D2-3E5B-4AD9-86AB-FA5D306B0860}" dt="2024-10-14T17:55:25.659" v="23" actId="1076"/>
          <ac:spMkLst>
            <pc:docMk/>
            <pc:sldMk cId="3529800333" sldId="271"/>
            <ac:spMk id="2" creationId="{18E25698-3CF6-EEC7-61AE-EB3C3FCAC733}"/>
          </ac:spMkLst>
        </pc:spChg>
        <pc:spChg chg="mod ord">
          <ac:chgData name="Guedj, Stephanie D. (she/her/hers)" userId="S::stephanie.guedj@va.gov::2a1c514f-f0ad-44c0-a4bd-b62d586cb351" providerId="AD" clId="Web-{90A705D2-3E5B-4AD9-86AB-FA5D306B0860}" dt="2024-10-14T17:55:18.112" v="22"/>
          <ac:spMkLst>
            <pc:docMk/>
            <pc:sldMk cId="3529800333" sldId="271"/>
            <ac:spMk id="3" creationId="{FEC55779-382F-2BF0-3EFD-DF7A8BF931A3}"/>
          </ac:spMkLst>
        </pc:spChg>
        <pc:spChg chg="mod ord">
          <ac:chgData name="Guedj, Stephanie D. (she/her/hers)" userId="S::stephanie.guedj@va.gov::2a1c514f-f0ad-44c0-a4bd-b62d586cb351" providerId="AD" clId="Web-{90A705D2-3E5B-4AD9-86AB-FA5D306B0860}" dt="2024-10-14T17:55:18.112" v="22"/>
          <ac:spMkLst>
            <pc:docMk/>
            <pc:sldMk cId="3529800333" sldId="271"/>
            <ac:spMk id="4" creationId="{2453A104-A621-B691-11DB-2F8927A3CCD1}"/>
          </ac:spMkLst>
        </pc:spChg>
      </pc:sldChg>
      <pc:sldChg chg="modSp mod modClrScheme chgLayout">
        <pc:chgData name="Guedj, Stephanie D. (she/her/hers)" userId="S::stephanie.guedj@va.gov::2a1c514f-f0ad-44c0-a4bd-b62d586cb351" providerId="AD" clId="Web-{90A705D2-3E5B-4AD9-86AB-FA5D306B0860}" dt="2024-10-14T17:55:44.099" v="25" actId="1076"/>
        <pc:sldMkLst>
          <pc:docMk/>
          <pc:sldMk cId="389760909" sldId="272"/>
        </pc:sldMkLst>
        <pc:spChg chg="mod ord">
          <ac:chgData name="Guedj, Stephanie D. (she/her/hers)" userId="S::stephanie.guedj@va.gov::2a1c514f-f0ad-44c0-a4bd-b62d586cb351" providerId="AD" clId="Web-{90A705D2-3E5B-4AD9-86AB-FA5D306B0860}" dt="2024-10-14T17:55:44.099" v="25" actId="1076"/>
          <ac:spMkLst>
            <pc:docMk/>
            <pc:sldMk cId="389760909" sldId="272"/>
            <ac:spMk id="2" creationId="{848AA0BC-3006-64D6-9D73-053FE9E1848F}"/>
          </ac:spMkLst>
        </pc:spChg>
        <pc:spChg chg="mod ord">
          <ac:chgData name="Guedj, Stephanie D. (she/her/hers)" userId="S::stephanie.guedj@va.gov::2a1c514f-f0ad-44c0-a4bd-b62d586cb351" providerId="AD" clId="Web-{90A705D2-3E5B-4AD9-86AB-FA5D306B0860}" dt="2024-10-14T17:55:36.193" v="24"/>
          <ac:spMkLst>
            <pc:docMk/>
            <pc:sldMk cId="389760909" sldId="272"/>
            <ac:spMk id="3" creationId="{000B4592-2150-0E74-3F0A-521DC2967A5A}"/>
          </ac:spMkLst>
        </pc:spChg>
        <pc:spChg chg="mod ord">
          <ac:chgData name="Guedj, Stephanie D. (she/her/hers)" userId="S::stephanie.guedj@va.gov::2a1c514f-f0ad-44c0-a4bd-b62d586cb351" providerId="AD" clId="Web-{90A705D2-3E5B-4AD9-86AB-FA5D306B0860}" dt="2024-10-14T17:55:36.193" v="24"/>
          <ac:spMkLst>
            <pc:docMk/>
            <pc:sldMk cId="389760909" sldId="272"/>
            <ac:spMk id="4" creationId="{2D73C57F-72DD-0C2A-58ED-5725C203E3A6}"/>
          </ac:spMkLst>
        </pc:spChg>
      </pc:sldChg>
      <pc:sldChg chg="modSp mod modClrScheme chgLayout">
        <pc:chgData name="Guedj, Stephanie D. (she/her/hers)" userId="S::stephanie.guedj@va.gov::2a1c514f-f0ad-44c0-a4bd-b62d586cb351" providerId="AD" clId="Web-{90A705D2-3E5B-4AD9-86AB-FA5D306B0860}" dt="2024-10-14T17:56:01.864" v="28"/>
        <pc:sldMkLst>
          <pc:docMk/>
          <pc:sldMk cId="1474026278" sldId="293"/>
        </pc:sldMkLst>
        <pc:spChg chg="mod ord">
          <ac:chgData name="Guedj, Stephanie D. (she/her/hers)" userId="S::stephanie.guedj@va.gov::2a1c514f-f0ad-44c0-a4bd-b62d586cb351" providerId="AD" clId="Web-{90A705D2-3E5B-4AD9-86AB-FA5D306B0860}" dt="2024-10-14T17:56:01.864" v="28"/>
          <ac:spMkLst>
            <pc:docMk/>
            <pc:sldMk cId="1474026278" sldId="293"/>
            <ac:spMk id="3" creationId="{DAA774F6-BBA5-4B8D-9568-7A021F5022F6}"/>
          </ac:spMkLst>
        </pc:spChg>
        <pc:spChg chg="mod ord">
          <ac:chgData name="Guedj, Stephanie D. (she/her/hers)" userId="S::stephanie.guedj@va.gov::2a1c514f-f0ad-44c0-a4bd-b62d586cb351" providerId="AD" clId="Web-{90A705D2-3E5B-4AD9-86AB-FA5D306B0860}" dt="2024-10-14T17:56:01.864" v="28"/>
          <ac:spMkLst>
            <pc:docMk/>
            <pc:sldMk cId="1474026278" sldId="293"/>
            <ac:spMk id="4" creationId="{555DE748-1F05-4EB8-8DBD-9024E50F613B}"/>
          </ac:spMkLst>
        </pc:spChg>
      </pc:sldChg>
      <pc:sldChg chg="modSp mod modClrScheme chgLayout">
        <pc:chgData name="Guedj, Stephanie D. (she/her/hers)" userId="S::stephanie.guedj@va.gov::2a1c514f-f0ad-44c0-a4bd-b62d586cb351" providerId="AD" clId="Web-{90A705D2-3E5B-4AD9-86AB-FA5D306B0860}" dt="2024-10-14T17:55:55.943" v="27" actId="1076"/>
        <pc:sldMkLst>
          <pc:docMk/>
          <pc:sldMk cId="352600962" sldId="297"/>
        </pc:sldMkLst>
        <pc:spChg chg="mod ord">
          <ac:chgData name="Guedj, Stephanie D. (she/her/hers)" userId="S::stephanie.guedj@va.gov::2a1c514f-f0ad-44c0-a4bd-b62d586cb351" providerId="AD" clId="Web-{90A705D2-3E5B-4AD9-86AB-FA5D306B0860}" dt="2024-10-14T17:55:55.943" v="27" actId="1076"/>
          <ac:spMkLst>
            <pc:docMk/>
            <pc:sldMk cId="352600962" sldId="297"/>
            <ac:spMk id="2" creationId="{A75E7B6B-B01D-F9F2-BDF6-5FD3C6A27870}"/>
          </ac:spMkLst>
        </pc:spChg>
        <pc:spChg chg="mod ord">
          <ac:chgData name="Guedj, Stephanie D. (she/her/hers)" userId="S::stephanie.guedj@va.gov::2a1c514f-f0ad-44c0-a4bd-b62d586cb351" providerId="AD" clId="Web-{90A705D2-3E5B-4AD9-86AB-FA5D306B0860}" dt="2024-10-14T17:55:50.490" v="26"/>
          <ac:spMkLst>
            <pc:docMk/>
            <pc:sldMk cId="352600962" sldId="297"/>
            <ac:spMk id="3" creationId="{37FE364D-42BA-355F-189B-ABDD6427B9C9}"/>
          </ac:spMkLst>
        </pc:spChg>
        <pc:spChg chg="mod ord">
          <ac:chgData name="Guedj, Stephanie D. (she/her/hers)" userId="S::stephanie.guedj@va.gov::2a1c514f-f0ad-44c0-a4bd-b62d586cb351" providerId="AD" clId="Web-{90A705D2-3E5B-4AD9-86AB-FA5D306B0860}" dt="2024-10-14T17:55:50.490" v="26"/>
          <ac:spMkLst>
            <pc:docMk/>
            <pc:sldMk cId="352600962" sldId="297"/>
            <ac:spMk id="4" creationId="{3A8CE5BC-997B-04E4-AE1D-9D19D54A2B39}"/>
          </ac:spMkLst>
        </pc:spChg>
      </pc:sldChg>
      <pc:sldChg chg="modSp mod modClrScheme chgLayout">
        <pc:chgData name="Guedj, Stephanie D. (she/her/hers)" userId="S::stephanie.guedj@va.gov::2a1c514f-f0ad-44c0-a4bd-b62d586cb351" providerId="AD" clId="Web-{90A705D2-3E5B-4AD9-86AB-FA5D306B0860}" dt="2024-10-14T17:54:49.800" v="19" actId="1076"/>
        <pc:sldMkLst>
          <pc:docMk/>
          <pc:sldMk cId="111468462" sldId="298"/>
        </pc:sldMkLst>
        <pc:spChg chg="mod ord">
          <ac:chgData name="Guedj, Stephanie D. (she/her/hers)" userId="S::stephanie.guedj@va.gov::2a1c514f-f0ad-44c0-a4bd-b62d586cb351" providerId="AD" clId="Web-{90A705D2-3E5B-4AD9-86AB-FA5D306B0860}" dt="2024-10-14T17:54:49.800" v="19" actId="1076"/>
          <ac:spMkLst>
            <pc:docMk/>
            <pc:sldMk cId="111468462" sldId="298"/>
            <ac:spMk id="2" creationId="{D717D3A6-1E80-7D90-1926-C467ED681D85}"/>
          </ac:spMkLst>
        </pc:spChg>
        <pc:spChg chg="mod ord">
          <ac:chgData name="Guedj, Stephanie D. (she/her/hers)" userId="S::stephanie.guedj@va.gov::2a1c514f-f0ad-44c0-a4bd-b62d586cb351" providerId="AD" clId="Web-{90A705D2-3E5B-4AD9-86AB-FA5D306B0860}" dt="2024-10-14T17:54:40.941" v="18"/>
          <ac:spMkLst>
            <pc:docMk/>
            <pc:sldMk cId="111468462" sldId="298"/>
            <ac:spMk id="3" creationId="{55B3B43B-FBDC-7189-E012-1ED4888FAD97}"/>
          </ac:spMkLst>
        </pc:spChg>
        <pc:spChg chg="mod ord">
          <ac:chgData name="Guedj, Stephanie D. (she/her/hers)" userId="S::stephanie.guedj@va.gov::2a1c514f-f0ad-44c0-a4bd-b62d586cb351" providerId="AD" clId="Web-{90A705D2-3E5B-4AD9-86AB-FA5D306B0860}" dt="2024-10-14T17:54:40.941" v="18"/>
          <ac:spMkLst>
            <pc:docMk/>
            <pc:sldMk cId="111468462" sldId="298"/>
            <ac:spMk id="4" creationId="{8B8A026F-6AC6-A716-5223-E5792A613118}"/>
          </ac:spMkLst>
        </pc:spChg>
      </pc:sldChg>
      <pc:sldChg chg="modSp mod modClrScheme modShow chgLayout">
        <pc:chgData name="Guedj, Stephanie D. (she/her/hers)" userId="S::stephanie.guedj@va.gov::2a1c514f-f0ad-44c0-a4bd-b62d586cb351" providerId="AD" clId="Web-{90A705D2-3E5B-4AD9-86AB-FA5D306B0860}" dt="2024-10-14T18:00:26.627" v="61"/>
        <pc:sldMkLst>
          <pc:docMk/>
          <pc:sldMk cId="561133639" sldId="299"/>
        </pc:sldMkLst>
        <pc:spChg chg="mod ord">
          <ac:chgData name="Guedj, Stephanie D. (she/her/hers)" userId="S::stephanie.guedj@va.gov::2a1c514f-f0ad-44c0-a4bd-b62d586cb351" providerId="AD" clId="Web-{90A705D2-3E5B-4AD9-86AB-FA5D306B0860}" dt="2024-10-14T17:54:24.175" v="16" actId="1076"/>
          <ac:spMkLst>
            <pc:docMk/>
            <pc:sldMk cId="561133639" sldId="299"/>
            <ac:spMk id="2" creationId="{BAEEF4AA-1885-F6CD-1D71-1E82E7C5DA97}"/>
          </ac:spMkLst>
        </pc:spChg>
        <pc:spChg chg="mod ord">
          <ac:chgData name="Guedj, Stephanie D. (she/her/hers)" userId="S::stephanie.guedj@va.gov::2a1c514f-f0ad-44c0-a4bd-b62d586cb351" providerId="AD" clId="Web-{90A705D2-3E5B-4AD9-86AB-FA5D306B0860}" dt="2024-10-14T17:54:18.472" v="15"/>
          <ac:spMkLst>
            <pc:docMk/>
            <pc:sldMk cId="561133639" sldId="299"/>
            <ac:spMk id="3" creationId="{972189E6-5969-94AF-C34B-0AA58644AE1A}"/>
          </ac:spMkLst>
        </pc:spChg>
        <pc:spChg chg="mod ord">
          <ac:chgData name="Guedj, Stephanie D. (she/her/hers)" userId="S::stephanie.guedj@va.gov::2a1c514f-f0ad-44c0-a4bd-b62d586cb351" providerId="AD" clId="Web-{90A705D2-3E5B-4AD9-86AB-FA5D306B0860}" dt="2024-10-14T17:54:18.472" v="15"/>
          <ac:spMkLst>
            <pc:docMk/>
            <pc:sldMk cId="561133639" sldId="299"/>
            <ac:spMk id="4" creationId="{048FCFEB-2455-688E-8975-0C4167514666}"/>
          </ac:spMkLst>
        </pc:spChg>
        <pc:graphicFrameChg chg="mod ord">
          <ac:chgData name="Guedj, Stephanie D. (she/her/hers)" userId="S::stephanie.guedj@va.gov::2a1c514f-f0ad-44c0-a4bd-b62d586cb351" providerId="AD" clId="Web-{90A705D2-3E5B-4AD9-86AB-FA5D306B0860}" dt="2024-10-14T17:54:32.691" v="17" actId="1076"/>
          <ac:graphicFrameMkLst>
            <pc:docMk/>
            <pc:sldMk cId="561133639" sldId="299"/>
            <ac:graphicFrameMk id="7" creationId="{AFFAECFD-9C7F-93C9-83C0-DB4DE2A6D9A6}"/>
          </ac:graphicFrameMkLst>
        </pc:graphicFrameChg>
      </pc:sldChg>
      <pc:sldChg chg="addSp delSp modSp mod modClrScheme chgLayout">
        <pc:chgData name="Guedj, Stephanie D. (she/her/hers)" userId="S::stephanie.guedj@va.gov::2a1c514f-f0ad-44c0-a4bd-b62d586cb351" providerId="AD" clId="Web-{90A705D2-3E5B-4AD9-86AB-FA5D306B0860}" dt="2024-10-14T17:57:31.504" v="37"/>
        <pc:sldMkLst>
          <pc:docMk/>
          <pc:sldMk cId="397032392" sldId="300"/>
        </pc:sldMkLst>
        <pc:spChg chg="add mod ord">
          <ac:chgData name="Guedj, Stephanie D. (she/her/hers)" userId="S::stephanie.guedj@va.gov::2a1c514f-f0ad-44c0-a4bd-b62d586cb351" providerId="AD" clId="Web-{90A705D2-3E5B-4AD9-86AB-FA5D306B0860}" dt="2024-10-14T17:57:03.989" v="36" actId="20577"/>
          <ac:spMkLst>
            <pc:docMk/>
            <pc:sldMk cId="397032392" sldId="300"/>
            <ac:spMk id="2" creationId="{4F7B3EA3-38D3-9776-EA38-55B5597E74F3}"/>
          </ac:spMkLst>
        </pc:spChg>
        <pc:spChg chg="mod ord">
          <ac:chgData name="Guedj, Stephanie D. (she/her/hers)" userId="S::stephanie.guedj@va.gov::2a1c514f-f0ad-44c0-a4bd-b62d586cb351" providerId="AD" clId="Web-{90A705D2-3E5B-4AD9-86AB-FA5D306B0860}" dt="2024-10-14T17:56:35.114" v="31"/>
          <ac:spMkLst>
            <pc:docMk/>
            <pc:sldMk cId="397032392" sldId="300"/>
            <ac:spMk id="3" creationId="{579A6915-5722-158D-6977-96239402AA9F}"/>
          </ac:spMkLst>
        </pc:spChg>
        <pc:spChg chg="mod ord">
          <ac:chgData name="Guedj, Stephanie D. (she/her/hers)" userId="S::stephanie.guedj@va.gov::2a1c514f-f0ad-44c0-a4bd-b62d586cb351" providerId="AD" clId="Web-{90A705D2-3E5B-4AD9-86AB-FA5D306B0860}" dt="2024-10-14T17:56:35.114" v="31"/>
          <ac:spMkLst>
            <pc:docMk/>
            <pc:sldMk cId="397032392" sldId="300"/>
            <ac:spMk id="4" creationId="{C465B68B-70BC-52C6-96AE-4AC9F03A7C4E}"/>
          </ac:spMkLst>
        </pc:spChg>
        <pc:spChg chg="del mod ord">
          <ac:chgData name="Guedj, Stephanie D. (she/her/hers)" userId="S::stephanie.guedj@va.gov::2a1c514f-f0ad-44c0-a4bd-b62d586cb351" providerId="AD" clId="Web-{90A705D2-3E5B-4AD9-86AB-FA5D306B0860}" dt="2024-10-14T17:57:31.504" v="37"/>
          <ac:spMkLst>
            <pc:docMk/>
            <pc:sldMk cId="397032392" sldId="300"/>
            <ac:spMk id="6" creationId="{12168C8D-2F43-7598-73A2-0240E783BAF6}"/>
          </ac:spMkLst>
        </pc:spChg>
        <pc:picChg chg="add mod ord">
          <ac:chgData name="Guedj, Stephanie D. (she/her/hers)" userId="S::stephanie.guedj@va.gov::2a1c514f-f0ad-44c0-a4bd-b62d586cb351" providerId="AD" clId="Web-{90A705D2-3E5B-4AD9-86AB-FA5D306B0860}" dt="2024-10-14T17:57:31.504" v="37"/>
          <ac:picMkLst>
            <pc:docMk/>
            <pc:sldMk cId="397032392" sldId="300"/>
            <ac:picMk id="5" creationId="{A2CB14E9-1A99-DA5B-74D8-6CE458C62BB3}"/>
          </ac:picMkLst>
        </pc:picChg>
      </pc:sldChg>
      <pc:sldChg chg="addSp modSp mod modClrScheme chgLayout">
        <pc:chgData name="Guedj, Stephanie D. (she/her/hers)" userId="S::stephanie.guedj@va.gov::2a1c514f-f0ad-44c0-a4bd-b62d586cb351" providerId="AD" clId="Web-{90A705D2-3E5B-4AD9-86AB-FA5D306B0860}" dt="2024-10-14T18:01:24.142" v="66" actId="1076"/>
        <pc:sldMkLst>
          <pc:docMk/>
          <pc:sldMk cId="1031976662" sldId="301"/>
        </pc:sldMkLst>
        <pc:spChg chg="mod ord">
          <ac:chgData name="Guedj, Stephanie D. (she/her/hers)" userId="S::stephanie.guedj@va.gov::2a1c514f-f0ad-44c0-a4bd-b62d586cb351" providerId="AD" clId="Web-{90A705D2-3E5B-4AD9-86AB-FA5D306B0860}" dt="2024-10-14T17:58:05.597" v="38"/>
          <ac:spMkLst>
            <pc:docMk/>
            <pc:sldMk cId="1031976662" sldId="301"/>
            <ac:spMk id="3" creationId="{579A6915-5722-158D-6977-96239402AA9F}"/>
          </ac:spMkLst>
        </pc:spChg>
        <pc:spChg chg="mod ord">
          <ac:chgData name="Guedj, Stephanie D. (she/her/hers)" userId="S::stephanie.guedj@va.gov::2a1c514f-f0ad-44c0-a4bd-b62d586cb351" providerId="AD" clId="Web-{90A705D2-3E5B-4AD9-86AB-FA5D306B0860}" dt="2024-10-14T18:00:06.752" v="60" actId="20577"/>
          <ac:spMkLst>
            <pc:docMk/>
            <pc:sldMk cId="1031976662" sldId="301"/>
            <ac:spMk id="4" creationId="{C465B68B-70BC-52C6-96AE-4AC9F03A7C4E}"/>
          </ac:spMkLst>
        </pc:spChg>
        <pc:spChg chg="add mod">
          <ac:chgData name="Guedj, Stephanie D. (she/her/hers)" userId="S::stephanie.guedj@va.gov::2a1c514f-f0ad-44c0-a4bd-b62d586cb351" providerId="AD" clId="Web-{90A705D2-3E5B-4AD9-86AB-FA5D306B0860}" dt="2024-10-14T18:01:24.142" v="66" actId="1076"/>
          <ac:spMkLst>
            <pc:docMk/>
            <pc:sldMk cId="1031976662" sldId="301"/>
            <ac:spMk id="5" creationId="{AA4A1AB8-D015-0235-294A-A4B7AB9D2CCC}"/>
          </ac:spMkLst>
        </pc:spChg>
        <pc:spChg chg="mod ord">
          <ac:chgData name="Guedj, Stephanie D. (she/her/hers)" userId="S::stephanie.guedj@va.gov::2a1c514f-f0ad-44c0-a4bd-b62d586cb351" providerId="AD" clId="Web-{90A705D2-3E5B-4AD9-86AB-FA5D306B0860}" dt="2024-10-14T17:58:15.363" v="39" actId="20577"/>
          <ac:spMkLst>
            <pc:docMk/>
            <pc:sldMk cId="1031976662" sldId="301"/>
            <ac:spMk id="6" creationId="{12168C8D-2F43-7598-73A2-0240E783BAF6}"/>
          </ac:spMkLst>
        </pc:spChg>
      </pc:sldChg>
      <pc:sldChg chg="new del">
        <pc:chgData name="Guedj, Stephanie D. (she/her/hers)" userId="S::stephanie.guedj@va.gov::2a1c514f-f0ad-44c0-a4bd-b62d586cb351" providerId="AD" clId="Web-{90A705D2-3E5B-4AD9-86AB-FA5D306B0860}" dt="2024-10-14T17:56:28.942" v="30"/>
        <pc:sldMkLst>
          <pc:docMk/>
          <pc:sldMk cId="166895199" sldId="302"/>
        </pc:sldMkLst>
      </pc:sldChg>
      <pc:sldChg chg="new del">
        <pc:chgData name="Guedj, Stephanie D. (she/her/hers)" userId="S::stephanie.guedj@va.gov::2a1c514f-f0ad-44c0-a4bd-b62d586cb351" providerId="AD" clId="Web-{90A705D2-3E5B-4AD9-86AB-FA5D306B0860}" dt="2024-10-14T17:54:11.269" v="13"/>
        <pc:sldMkLst>
          <pc:docMk/>
          <pc:sldMk cId="4039004404" sldId="302"/>
        </pc:sldMkLst>
      </pc:sldChg>
    </pc:docChg>
  </pc:docChgLst>
  <pc:docChgLst>
    <pc:chgData name="Guedj, Stephanie D. (she/her/hers)" userId="S::stephanie.guedj@va.gov::2a1c514f-f0ad-44c0-a4bd-b62d586cb351" providerId="AD" clId="Web-{4DE7DDCB-B572-4898-9CB9-D8AF885200D5}"/>
    <pc:docChg chg="addSld delSld modSld">
      <pc:chgData name="Guedj, Stephanie D. (she/her/hers)" userId="S::stephanie.guedj@va.gov::2a1c514f-f0ad-44c0-a4bd-b62d586cb351" providerId="AD" clId="Web-{4DE7DDCB-B572-4898-9CB9-D8AF885200D5}" dt="2024-10-15T17:19:05.971" v="93"/>
      <pc:docMkLst>
        <pc:docMk/>
      </pc:docMkLst>
      <pc:sldChg chg="modNotes">
        <pc:chgData name="Guedj, Stephanie D. (she/her/hers)" userId="S::stephanie.guedj@va.gov::2a1c514f-f0ad-44c0-a4bd-b62d586cb351" providerId="AD" clId="Web-{4DE7DDCB-B572-4898-9CB9-D8AF885200D5}" dt="2024-10-15T17:13:31.700" v="31"/>
        <pc:sldMkLst>
          <pc:docMk/>
          <pc:sldMk cId="491692405" sldId="1868"/>
        </pc:sldMkLst>
      </pc:sldChg>
      <pc:sldChg chg="modSp del modNotes">
        <pc:chgData name="Guedj, Stephanie D. (she/her/hers)" userId="S::stephanie.guedj@va.gov::2a1c514f-f0ad-44c0-a4bd-b62d586cb351" providerId="AD" clId="Web-{4DE7DDCB-B572-4898-9CB9-D8AF885200D5}" dt="2024-10-15T17:19:05.971" v="93"/>
        <pc:sldMkLst>
          <pc:docMk/>
          <pc:sldMk cId="3377598115" sldId="1869"/>
        </pc:sldMkLst>
        <pc:spChg chg="mod">
          <ac:chgData name="Guedj, Stephanie D. (she/her/hers)" userId="S::stephanie.guedj@va.gov::2a1c514f-f0ad-44c0-a4bd-b62d586cb351" providerId="AD" clId="Web-{4DE7DDCB-B572-4898-9CB9-D8AF885200D5}" dt="2024-10-15T17:06:02.036" v="24" actId="20577"/>
          <ac:spMkLst>
            <pc:docMk/>
            <pc:sldMk cId="3377598115" sldId="1869"/>
            <ac:spMk id="3" creationId="{D6E8C12A-D9BD-474F-AC55-B3EDF24DC27F}"/>
          </ac:spMkLst>
        </pc:spChg>
      </pc:sldChg>
      <pc:sldChg chg="addSp delSp modSp new modNotes">
        <pc:chgData name="Guedj, Stephanie D. (she/her/hers)" userId="S::stephanie.guedj@va.gov::2a1c514f-f0ad-44c0-a4bd-b62d586cb351" providerId="AD" clId="Web-{4DE7DDCB-B572-4898-9CB9-D8AF885200D5}" dt="2024-10-15T17:18:58.815" v="92" actId="14100"/>
        <pc:sldMkLst>
          <pc:docMk/>
          <pc:sldMk cId="1844192534" sldId="1871"/>
        </pc:sldMkLst>
        <pc:spChg chg="mod">
          <ac:chgData name="Guedj, Stephanie D. (she/her/hers)" userId="S::stephanie.guedj@va.gov::2a1c514f-f0ad-44c0-a4bd-b62d586cb351" providerId="AD" clId="Web-{4DE7DDCB-B572-4898-9CB9-D8AF885200D5}" dt="2024-10-15T17:18:58.815" v="92" actId="14100"/>
          <ac:spMkLst>
            <pc:docMk/>
            <pc:sldMk cId="1844192534" sldId="1871"/>
            <ac:spMk id="2" creationId="{9C540622-5ED7-2DBA-2D4D-99C1BC6777CC}"/>
          </ac:spMkLst>
        </pc:spChg>
        <pc:spChg chg="del">
          <ac:chgData name="Guedj, Stephanie D. (she/her/hers)" userId="S::stephanie.guedj@va.gov::2a1c514f-f0ad-44c0-a4bd-b62d586cb351" providerId="AD" clId="Web-{4DE7DDCB-B572-4898-9CB9-D8AF885200D5}" dt="2024-10-15T17:18:05.533" v="73"/>
          <ac:spMkLst>
            <pc:docMk/>
            <pc:sldMk cId="1844192534" sldId="1871"/>
            <ac:spMk id="3" creationId="{3511769D-EA7B-589B-923B-0B2F54BD1EA1}"/>
          </ac:spMkLst>
        </pc:spChg>
        <pc:spChg chg="mod">
          <ac:chgData name="Guedj, Stephanie D. (she/her/hers)" userId="S::stephanie.guedj@va.gov::2a1c514f-f0ad-44c0-a4bd-b62d586cb351" providerId="AD" clId="Web-{4DE7DDCB-B572-4898-9CB9-D8AF885200D5}" dt="2024-10-15T17:18:18.283" v="79" actId="20577"/>
          <ac:spMkLst>
            <pc:docMk/>
            <pc:sldMk cId="1844192534" sldId="1871"/>
            <ac:spMk id="4" creationId="{9ED811B3-9793-EDF1-2E82-F39F143C4992}"/>
          </ac:spMkLst>
        </pc:spChg>
        <pc:picChg chg="add del">
          <ac:chgData name="Guedj, Stephanie D. (she/her/hers)" userId="S::stephanie.guedj@va.gov::2a1c514f-f0ad-44c0-a4bd-b62d586cb351" providerId="AD" clId="Web-{4DE7DDCB-B572-4898-9CB9-D8AF885200D5}" dt="2024-10-15T17:17:32.298" v="72"/>
          <ac:picMkLst>
            <pc:docMk/>
            <pc:sldMk cId="1844192534" sldId="1871"/>
            <ac:picMk id="7" creationId="{DEC4083D-E285-FD51-E4FA-8A2FECF01360}"/>
          </ac:picMkLst>
        </pc:picChg>
        <pc:picChg chg="add mod ord">
          <ac:chgData name="Guedj, Stephanie D. (she/her/hers)" userId="S::stephanie.guedj@va.gov::2a1c514f-f0ad-44c0-a4bd-b62d586cb351" providerId="AD" clId="Web-{4DE7DDCB-B572-4898-9CB9-D8AF885200D5}" dt="2024-10-15T17:18:05.533" v="73"/>
          <ac:picMkLst>
            <pc:docMk/>
            <pc:sldMk cId="1844192534" sldId="1871"/>
            <ac:picMk id="8" creationId="{22D6CCC4-EE80-477C-36DA-2B8B7DBCA4CC}"/>
          </ac:picMkLst>
        </pc:picChg>
      </pc:sldChg>
    </pc:docChg>
  </pc:docChgLst>
  <pc:docChgLst>
    <pc:chgData name="Guedj, Stephanie D. (she/her/hers)" userId="S::stephanie.guedj@va.gov::2a1c514f-f0ad-44c0-a4bd-b62d586cb351" providerId="AD" clId="Web-{1D4061A9-FCB0-4C48-AF4A-91507C378599}"/>
    <pc:docChg chg="modSld sldOrd">
      <pc:chgData name="Guedj, Stephanie D. (she/her/hers)" userId="S::stephanie.guedj@va.gov::2a1c514f-f0ad-44c0-a4bd-b62d586cb351" providerId="AD" clId="Web-{1D4061A9-FCB0-4C48-AF4A-91507C378599}" dt="2024-10-15T16:28:09.913" v="52"/>
      <pc:docMkLst>
        <pc:docMk/>
      </pc:docMkLst>
      <pc:sldChg chg="ord">
        <pc:chgData name="Guedj, Stephanie D. (she/her/hers)" userId="S::stephanie.guedj@va.gov::2a1c514f-f0ad-44c0-a4bd-b62d586cb351" providerId="AD" clId="Web-{1D4061A9-FCB0-4C48-AF4A-91507C378599}" dt="2024-10-15T16:20:52.566" v="3"/>
        <pc:sldMkLst>
          <pc:docMk/>
          <pc:sldMk cId="1684426285" sldId="268"/>
        </pc:sldMkLst>
      </pc:sldChg>
      <pc:sldChg chg="modNotes">
        <pc:chgData name="Guedj, Stephanie D. (she/her/hers)" userId="S::stephanie.guedj@va.gov::2a1c514f-f0ad-44c0-a4bd-b62d586cb351" providerId="AD" clId="Web-{1D4061A9-FCB0-4C48-AF4A-91507C378599}" dt="2024-10-15T16:28:09.913" v="52"/>
        <pc:sldMkLst>
          <pc:docMk/>
          <pc:sldMk cId="3099886817" sldId="270"/>
        </pc:sldMkLst>
      </pc:sldChg>
      <pc:sldChg chg="mod modShow">
        <pc:chgData name="Guedj, Stephanie D. (she/her/hers)" userId="S::stephanie.guedj@va.gov::2a1c514f-f0ad-44c0-a4bd-b62d586cb351" providerId="AD" clId="Web-{1D4061A9-FCB0-4C48-AF4A-91507C378599}" dt="2024-10-15T16:20:59.675" v="4"/>
        <pc:sldMkLst>
          <pc:docMk/>
          <pc:sldMk cId="561133639" sldId="299"/>
        </pc:sldMkLst>
      </pc:sldChg>
    </pc:docChg>
  </pc:docChgLst>
  <pc:docChgLst>
    <pc:chgData name="Taylor, Prince (he/him/his)" userId="S::prince.taylor@va.gov::01ee1d6c-2e7c-4350-8df7-326785842210" providerId="AD" clId="Web-{5A9DA646-7213-F04E-B7E5-124F65BA04A0}"/>
    <pc:docChg chg="addSld modSld">
      <pc:chgData name="Taylor, Prince (he/him/his)" userId="S::prince.taylor@va.gov::01ee1d6c-2e7c-4350-8df7-326785842210" providerId="AD" clId="Web-{5A9DA646-7213-F04E-B7E5-124F65BA04A0}" dt="2024-10-11T12:01:09.590" v="172" actId="20577"/>
      <pc:docMkLst>
        <pc:docMk/>
      </pc:docMkLst>
      <pc:sldChg chg="modSp add replId">
        <pc:chgData name="Taylor, Prince (he/him/his)" userId="S::prince.taylor@va.gov::01ee1d6c-2e7c-4350-8df7-326785842210" providerId="AD" clId="Web-{5A9DA646-7213-F04E-B7E5-124F65BA04A0}" dt="2024-10-11T12:01:09.590" v="172" actId="20577"/>
        <pc:sldMkLst>
          <pc:docMk/>
          <pc:sldMk cId="397032392" sldId="300"/>
        </pc:sldMkLst>
        <pc:spChg chg="mod">
          <ac:chgData name="Taylor, Prince (he/him/his)" userId="S::prince.taylor@va.gov::01ee1d6c-2e7c-4350-8df7-326785842210" providerId="AD" clId="Web-{5A9DA646-7213-F04E-B7E5-124F65BA04A0}" dt="2024-10-11T12:01:09.590" v="172" actId="20577"/>
          <ac:spMkLst>
            <pc:docMk/>
            <pc:sldMk cId="397032392" sldId="300"/>
            <ac:spMk id="6" creationId="{12168C8D-2F43-7598-73A2-0240E783BAF6}"/>
          </ac:spMkLst>
        </pc:spChg>
      </pc:sldChg>
    </pc:docChg>
  </pc:docChgLst>
  <pc:docChgLst>
    <pc:chgData name="Guedj, Stephanie D. (she/her/hers)" userId="S::stephanie.guedj@va.gov::2a1c514f-f0ad-44c0-a4bd-b62d586cb351" providerId="AD" clId="Web-{21D06802-9B95-4AE5-9049-923CB45A983D}"/>
    <pc:docChg chg="addSld addMainMaster modMainMaster">
      <pc:chgData name="Guedj, Stephanie D. (she/her/hers)" userId="S::stephanie.guedj@va.gov::2a1c514f-f0ad-44c0-a4bd-b62d586cb351" providerId="AD" clId="Web-{21D06802-9B95-4AE5-9049-923CB45A983D}" dt="2024-10-15T16:31:06.412" v="1"/>
      <pc:docMkLst>
        <pc:docMk/>
      </pc:docMkLst>
      <pc:sldChg chg="add">
        <pc:chgData name="Guedj, Stephanie D. (she/her/hers)" userId="S::stephanie.guedj@va.gov::2a1c514f-f0ad-44c0-a4bd-b62d586cb351" providerId="AD" clId="Web-{21D06802-9B95-4AE5-9049-923CB45A983D}" dt="2024-10-15T16:31:06.224" v="0"/>
        <pc:sldMkLst>
          <pc:docMk/>
          <pc:sldMk cId="491692405" sldId="1868"/>
        </pc:sldMkLst>
      </pc:sldChg>
      <pc:sldChg chg="add">
        <pc:chgData name="Guedj, Stephanie D. (she/her/hers)" userId="S::stephanie.guedj@va.gov::2a1c514f-f0ad-44c0-a4bd-b62d586cb351" providerId="AD" clId="Web-{21D06802-9B95-4AE5-9049-923CB45A983D}" dt="2024-10-15T16:31:06.412" v="1"/>
        <pc:sldMkLst>
          <pc:docMk/>
          <pc:sldMk cId="3377598115" sldId="1869"/>
        </pc:sldMkLst>
      </pc:sldChg>
      <pc:sldMasterChg chg="modSldLayout">
        <pc:chgData name="Guedj, Stephanie D. (she/her/hers)" userId="S::stephanie.guedj@va.gov::2a1c514f-f0ad-44c0-a4bd-b62d586cb351" providerId="AD" clId="Web-{21D06802-9B95-4AE5-9049-923CB45A983D}" dt="2024-10-15T16:31:06.224" v="0"/>
        <pc:sldMasterMkLst>
          <pc:docMk/>
          <pc:sldMasterMk cId="3348051821" sldId="2147483671"/>
        </pc:sldMasterMkLst>
        <pc:sldLayoutChg chg="replId">
          <pc:chgData name="Guedj, Stephanie D. (she/her/hers)" userId="S::stephanie.guedj@va.gov::2a1c514f-f0ad-44c0-a4bd-b62d586cb351" providerId="AD" clId="Web-{21D06802-9B95-4AE5-9049-923CB45A983D}" dt="2024-10-15T16:31:06.224" v="0"/>
          <pc:sldLayoutMkLst>
            <pc:docMk/>
            <pc:sldMasterMk cId="3348051821" sldId="2147483671"/>
            <pc:sldLayoutMk cId="1118634679" sldId="2147483710"/>
          </pc:sldLayoutMkLst>
        </pc:sldLayoutChg>
        <pc:sldLayoutChg chg="replId">
          <pc:chgData name="Guedj, Stephanie D. (she/her/hers)" userId="S::stephanie.guedj@va.gov::2a1c514f-f0ad-44c0-a4bd-b62d586cb351" providerId="AD" clId="Web-{21D06802-9B95-4AE5-9049-923CB45A983D}" dt="2024-10-15T16:31:06.224" v="0"/>
          <pc:sldLayoutMkLst>
            <pc:docMk/>
            <pc:sldMasterMk cId="3348051821" sldId="2147483671"/>
            <pc:sldLayoutMk cId="328630434" sldId="2147483711"/>
          </pc:sldLayoutMkLst>
        </pc:sldLayoutChg>
        <pc:sldLayoutChg chg="replId">
          <pc:chgData name="Guedj, Stephanie D. (she/her/hers)" userId="S::stephanie.guedj@va.gov::2a1c514f-f0ad-44c0-a4bd-b62d586cb351" providerId="AD" clId="Web-{21D06802-9B95-4AE5-9049-923CB45A983D}" dt="2024-10-15T16:31:06.224" v="0"/>
          <pc:sldLayoutMkLst>
            <pc:docMk/>
            <pc:sldMasterMk cId="3348051821" sldId="2147483671"/>
            <pc:sldLayoutMk cId="2436761465" sldId="2147483712"/>
          </pc:sldLayoutMkLst>
        </pc:sldLayoutChg>
        <pc:sldLayoutChg chg="replId">
          <pc:chgData name="Guedj, Stephanie D. (she/her/hers)" userId="S::stephanie.guedj@va.gov::2a1c514f-f0ad-44c0-a4bd-b62d586cb351" providerId="AD" clId="Web-{21D06802-9B95-4AE5-9049-923CB45A983D}" dt="2024-10-15T16:31:06.224" v="0"/>
          <pc:sldLayoutMkLst>
            <pc:docMk/>
            <pc:sldMasterMk cId="3348051821" sldId="2147483671"/>
            <pc:sldLayoutMk cId="1381639276" sldId="2147483713"/>
          </pc:sldLayoutMkLst>
        </pc:sldLayoutChg>
      </pc:sldMasterChg>
      <pc:sldMasterChg chg="add addSldLayout">
        <pc:chgData name="Guedj, Stephanie D. (she/her/hers)" userId="S::stephanie.guedj@va.gov::2a1c514f-f0ad-44c0-a4bd-b62d586cb351" providerId="AD" clId="Web-{21D06802-9B95-4AE5-9049-923CB45A983D}" dt="2024-10-15T16:31:06.224" v="0"/>
        <pc:sldMasterMkLst>
          <pc:docMk/>
          <pc:sldMasterMk cId="3429690444" sldId="2147483687"/>
        </pc:sldMasterMkLst>
        <pc:sldLayoutChg chg="add">
          <pc:chgData name="Guedj, Stephanie D. (she/her/hers)" userId="S::stephanie.guedj@va.gov::2a1c514f-f0ad-44c0-a4bd-b62d586cb351" providerId="AD" clId="Web-{21D06802-9B95-4AE5-9049-923CB45A983D}" dt="2024-10-15T16:31:06.224" v="0"/>
          <pc:sldLayoutMkLst>
            <pc:docMk/>
            <pc:sldMasterMk cId="3429690444" sldId="2147483687"/>
            <pc:sldLayoutMk cId="1440679267" sldId="2147483689"/>
          </pc:sldLayoutMkLst>
        </pc:sldLayoutChg>
        <pc:sldLayoutChg chg="add">
          <pc:chgData name="Guedj, Stephanie D. (she/her/hers)" userId="S::stephanie.guedj@va.gov::2a1c514f-f0ad-44c0-a4bd-b62d586cb351" providerId="AD" clId="Web-{21D06802-9B95-4AE5-9049-923CB45A983D}" dt="2024-10-15T16:31:06.224" v="0"/>
          <pc:sldLayoutMkLst>
            <pc:docMk/>
            <pc:sldMasterMk cId="3429690444" sldId="2147483687"/>
            <pc:sldLayoutMk cId="495523106" sldId="2147483690"/>
          </pc:sldLayoutMkLst>
        </pc:sldLayoutChg>
        <pc:sldLayoutChg chg="add">
          <pc:chgData name="Guedj, Stephanie D. (she/her/hers)" userId="S::stephanie.guedj@va.gov::2a1c514f-f0ad-44c0-a4bd-b62d586cb351" providerId="AD" clId="Web-{21D06802-9B95-4AE5-9049-923CB45A983D}" dt="2024-10-15T16:31:06.224" v="0"/>
          <pc:sldLayoutMkLst>
            <pc:docMk/>
            <pc:sldMasterMk cId="3429690444" sldId="2147483687"/>
            <pc:sldLayoutMk cId="1422917410" sldId="2147483691"/>
          </pc:sldLayoutMkLst>
        </pc:sldLayoutChg>
        <pc:sldLayoutChg chg="add">
          <pc:chgData name="Guedj, Stephanie D. (she/her/hers)" userId="S::stephanie.guedj@va.gov::2a1c514f-f0ad-44c0-a4bd-b62d586cb351" providerId="AD" clId="Web-{21D06802-9B95-4AE5-9049-923CB45A983D}" dt="2024-10-15T16:31:06.224" v="0"/>
          <pc:sldLayoutMkLst>
            <pc:docMk/>
            <pc:sldMasterMk cId="3429690444" sldId="2147483687"/>
            <pc:sldLayoutMk cId="172072613" sldId="2147483699"/>
          </pc:sldLayoutMkLst>
        </pc:sldLayoutChg>
        <pc:sldLayoutChg chg="add">
          <pc:chgData name="Guedj, Stephanie D. (she/her/hers)" userId="S::stephanie.guedj@va.gov::2a1c514f-f0ad-44c0-a4bd-b62d586cb351" providerId="AD" clId="Web-{21D06802-9B95-4AE5-9049-923CB45A983D}" dt="2024-10-15T16:31:06.224" v="0"/>
          <pc:sldLayoutMkLst>
            <pc:docMk/>
            <pc:sldMasterMk cId="3429690444" sldId="2147483687"/>
            <pc:sldLayoutMk cId="3240882942" sldId="2147483700"/>
          </pc:sldLayoutMkLst>
        </pc:sldLayoutChg>
        <pc:sldLayoutChg chg="add">
          <pc:chgData name="Guedj, Stephanie D. (she/her/hers)" userId="S::stephanie.guedj@va.gov::2a1c514f-f0ad-44c0-a4bd-b62d586cb351" providerId="AD" clId="Web-{21D06802-9B95-4AE5-9049-923CB45A983D}" dt="2024-10-15T16:31:06.224" v="0"/>
          <pc:sldLayoutMkLst>
            <pc:docMk/>
            <pc:sldMasterMk cId="3429690444" sldId="2147483687"/>
            <pc:sldLayoutMk cId="2189876105" sldId="2147483701"/>
          </pc:sldLayoutMkLst>
        </pc:sldLayoutChg>
        <pc:sldLayoutChg chg="add">
          <pc:chgData name="Guedj, Stephanie D. (she/her/hers)" userId="S::stephanie.guedj@va.gov::2a1c514f-f0ad-44c0-a4bd-b62d586cb351" providerId="AD" clId="Web-{21D06802-9B95-4AE5-9049-923CB45A983D}" dt="2024-10-15T16:31:06.224" v="0"/>
          <pc:sldLayoutMkLst>
            <pc:docMk/>
            <pc:sldMasterMk cId="3429690444" sldId="2147483687"/>
            <pc:sldLayoutMk cId="1586680172" sldId="2147483702"/>
          </pc:sldLayoutMkLst>
        </pc:sldLayoutChg>
        <pc:sldLayoutChg chg="add">
          <pc:chgData name="Guedj, Stephanie D. (she/her/hers)" userId="S::stephanie.guedj@va.gov::2a1c514f-f0ad-44c0-a4bd-b62d586cb351" providerId="AD" clId="Web-{21D06802-9B95-4AE5-9049-923CB45A983D}" dt="2024-10-15T16:31:06.224" v="0"/>
          <pc:sldLayoutMkLst>
            <pc:docMk/>
            <pc:sldMasterMk cId="3429690444" sldId="2147483687"/>
            <pc:sldLayoutMk cId="3951428430" sldId="2147483704"/>
          </pc:sldLayoutMkLst>
        </pc:sldLayoutChg>
        <pc:sldLayoutChg chg="add">
          <pc:chgData name="Guedj, Stephanie D. (she/her/hers)" userId="S::stephanie.guedj@va.gov::2a1c514f-f0ad-44c0-a4bd-b62d586cb351" providerId="AD" clId="Web-{21D06802-9B95-4AE5-9049-923CB45A983D}" dt="2024-10-15T16:31:06.224" v="0"/>
          <pc:sldLayoutMkLst>
            <pc:docMk/>
            <pc:sldMasterMk cId="3429690444" sldId="2147483687"/>
            <pc:sldLayoutMk cId="4294626622" sldId="2147483706"/>
          </pc:sldLayoutMkLst>
        </pc:sldLayoutChg>
        <pc:sldLayoutChg chg="add">
          <pc:chgData name="Guedj, Stephanie D. (she/her/hers)" userId="S::stephanie.guedj@va.gov::2a1c514f-f0ad-44c0-a4bd-b62d586cb351" providerId="AD" clId="Web-{21D06802-9B95-4AE5-9049-923CB45A983D}" dt="2024-10-15T16:31:06.224" v="0"/>
          <pc:sldLayoutMkLst>
            <pc:docMk/>
            <pc:sldMasterMk cId="3429690444" sldId="2147483687"/>
            <pc:sldLayoutMk cId="840375985" sldId="2147483708"/>
          </pc:sldLayoutMkLst>
        </pc:sldLayoutChg>
        <pc:sldLayoutChg chg="add">
          <pc:chgData name="Guedj, Stephanie D. (she/her/hers)" userId="S::stephanie.guedj@va.gov::2a1c514f-f0ad-44c0-a4bd-b62d586cb351" providerId="AD" clId="Web-{21D06802-9B95-4AE5-9049-923CB45A983D}" dt="2024-10-15T16:31:06.224" v="0"/>
          <pc:sldLayoutMkLst>
            <pc:docMk/>
            <pc:sldMasterMk cId="3429690444" sldId="2147483687"/>
            <pc:sldLayoutMk cId="716396006" sldId="2147483709"/>
          </pc:sldLayoutMkLst>
        </pc:sldLayoutChg>
      </pc:sldMasterChg>
    </pc:docChg>
  </pc:docChgLst>
  <pc:docChgLst>
    <pc:chgData name="Guedj, Stephanie D. (she/her/hers)" userId="S::stephanie.guedj@va.gov::2a1c514f-f0ad-44c0-a4bd-b62d586cb351" providerId="AD" clId="Web-{9D6EF0FE-AB64-434D-9EFF-9C8F9328542E}"/>
    <pc:docChg chg="modSld">
      <pc:chgData name="Guedj, Stephanie D. (she/her/hers)" userId="S::stephanie.guedj@va.gov::2a1c514f-f0ad-44c0-a4bd-b62d586cb351" providerId="AD" clId="Web-{9D6EF0FE-AB64-434D-9EFF-9C8F9328542E}" dt="2024-10-09T15:54:34.986" v="1" actId="1076"/>
      <pc:docMkLst>
        <pc:docMk/>
      </pc:docMkLst>
      <pc:sldChg chg="addSp modSp">
        <pc:chgData name="Guedj, Stephanie D. (she/her/hers)" userId="S::stephanie.guedj@va.gov::2a1c514f-f0ad-44c0-a4bd-b62d586cb351" providerId="AD" clId="Web-{9D6EF0FE-AB64-434D-9EFF-9C8F9328542E}" dt="2024-10-09T15:54:34.986" v="1" actId="1076"/>
        <pc:sldMkLst>
          <pc:docMk/>
          <pc:sldMk cId="389760909" sldId="272"/>
        </pc:sldMkLst>
        <pc:picChg chg="add mod">
          <ac:chgData name="Guedj, Stephanie D. (she/her/hers)" userId="S::stephanie.guedj@va.gov::2a1c514f-f0ad-44c0-a4bd-b62d586cb351" providerId="AD" clId="Web-{9D6EF0FE-AB64-434D-9EFF-9C8F9328542E}" dt="2024-10-09T15:54:34.986" v="1" actId="1076"/>
          <ac:picMkLst>
            <pc:docMk/>
            <pc:sldMk cId="389760909" sldId="272"/>
            <ac:picMk id="5" creationId="{3E3EDEEB-64BC-EC74-4116-290769448B89}"/>
          </ac:picMkLst>
        </pc:picChg>
      </pc:sldChg>
    </pc:docChg>
  </pc:docChgLst>
  <pc:docChgLst>
    <pc:chgData name="Guedj, Stephanie D. (she/her/hers)" userId="S::stephanie.guedj@va.gov::2a1c514f-f0ad-44c0-a4bd-b62d586cb351" providerId="AD" clId="Web-{4019B0D0-E077-4AD7-A7A7-31FFB1C91B1A}"/>
    <pc:docChg chg="modSld">
      <pc:chgData name="Guedj, Stephanie D. (she/her/hers)" userId="S::stephanie.guedj@va.gov::2a1c514f-f0ad-44c0-a4bd-b62d586cb351" providerId="AD" clId="Web-{4019B0D0-E077-4AD7-A7A7-31FFB1C91B1A}" dt="2024-10-15T17:22:50.181" v="9"/>
      <pc:docMkLst>
        <pc:docMk/>
      </pc:docMkLst>
      <pc:sldChg chg="modNotes">
        <pc:chgData name="Guedj, Stephanie D. (she/her/hers)" userId="S::stephanie.guedj@va.gov::2a1c514f-f0ad-44c0-a4bd-b62d586cb351" providerId="AD" clId="Web-{4019B0D0-E077-4AD7-A7A7-31FFB1C91B1A}" dt="2024-10-15T17:22:50.181" v="9"/>
        <pc:sldMkLst>
          <pc:docMk/>
          <pc:sldMk cId="3099886817" sldId="270"/>
        </pc:sldMkLst>
      </pc:sldChg>
    </pc:docChg>
  </pc:docChgLst>
  <pc:docChgLst>
    <pc:chgData name="Guedj, Stephanie D. (she/her/hers)" userId="S::stephanie.guedj@va.gov::2a1c514f-f0ad-44c0-a4bd-b62d586cb351" providerId="AD" clId="Web-{F0671732-0AF0-4093-904D-D08387213A9D}"/>
    <pc:docChg chg="modSld">
      <pc:chgData name="Guedj, Stephanie D. (she/her/hers)" userId="S::stephanie.guedj@va.gov::2a1c514f-f0ad-44c0-a4bd-b62d586cb351" providerId="AD" clId="Web-{F0671732-0AF0-4093-904D-D08387213A9D}" dt="2024-10-09T18:48:24.947" v="44"/>
      <pc:docMkLst>
        <pc:docMk/>
      </pc:docMkLst>
      <pc:sldChg chg="modNotes">
        <pc:chgData name="Guedj, Stephanie D. (she/her/hers)" userId="S::stephanie.guedj@va.gov::2a1c514f-f0ad-44c0-a4bd-b62d586cb351" providerId="AD" clId="Web-{F0671732-0AF0-4093-904D-D08387213A9D}" dt="2024-10-09T18:48:19.416" v="42"/>
        <pc:sldMkLst>
          <pc:docMk/>
          <pc:sldMk cId="2809186044" sldId="266"/>
        </pc:sldMkLst>
      </pc:sldChg>
      <pc:sldChg chg="modNotes">
        <pc:chgData name="Guedj, Stephanie D. (she/her/hers)" userId="S::stephanie.guedj@va.gov::2a1c514f-f0ad-44c0-a4bd-b62d586cb351" providerId="AD" clId="Web-{F0671732-0AF0-4093-904D-D08387213A9D}" dt="2024-10-09T18:47:50.292" v="40"/>
        <pc:sldMkLst>
          <pc:docMk/>
          <pc:sldMk cId="389760909" sldId="272"/>
        </pc:sldMkLst>
      </pc:sldChg>
      <pc:sldChg chg="modNotes">
        <pc:chgData name="Guedj, Stephanie D. (she/her/hers)" userId="S::stephanie.guedj@va.gov::2a1c514f-f0ad-44c0-a4bd-b62d586cb351" providerId="AD" clId="Web-{F0671732-0AF0-4093-904D-D08387213A9D}" dt="2024-10-09T18:48:24.947" v="44"/>
        <pc:sldMkLst>
          <pc:docMk/>
          <pc:sldMk cId="3270213776" sldId="296"/>
        </pc:sldMkLst>
      </pc:sldChg>
      <pc:sldChg chg="modSp modNotes">
        <pc:chgData name="Guedj, Stephanie D. (she/her/hers)" userId="S::stephanie.guedj@va.gov::2a1c514f-f0ad-44c0-a4bd-b62d586cb351" providerId="AD" clId="Web-{F0671732-0AF0-4093-904D-D08387213A9D}" dt="2024-10-09T18:43:26.638" v="34"/>
        <pc:sldMkLst>
          <pc:docMk/>
          <pc:sldMk cId="111468462" sldId="298"/>
        </pc:sldMkLst>
        <pc:spChg chg="mod">
          <ac:chgData name="Guedj, Stephanie D. (she/her/hers)" userId="S::stephanie.guedj@va.gov::2a1c514f-f0ad-44c0-a4bd-b62d586cb351" providerId="AD" clId="Web-{F0671732-0AF0-4093-904D-D08387213A9D}" dt="2024-10-09T18:41:53.592" v="26" actId="20577"/>
          <ac:spMkLst>
            <pc:docMk/>
            <pc:sldMk cId="111468462" sldId="298"/>
            <ac:spMk id="2" creationId="{D717D3A6-1E80-7D90-1926-C467ED681D85}"/>
          </ac:spMkLst>
        </pc:spChg>
      </pc:sldChg>
    </pc:docChg>
  </pc:docChgLst>
  <pc:docChgLst>
    <pc:chgData name="Guedj, Stephanie D. (she/her/hers)" userId="S::stephanie.guedj@va.gov::2a1c514f-f0ad-44c0-a4bd-b62d586cb351" providerId="AD" clId="Web-{4570F568-A3AB-4C2B-9677-413C678686CD}"/>
    <pc:docChg chg="addSld delSld modSld addMainMaster modMainMaster">
      <pc:chgData name="Guedj, Stephanie D. (she/her/hers)" userId="S::stephanie.guedj@va.gov::2a1c514f-f0ad-44c0-a4bd-b62d586cb351" providerId="AD" clId="Web-{4570F568-A3AB-4C2B-9677-413C678686CD}" dt="2024-10-09T15:50:02.895" v="514" actId="20577"/>
      <pc:docMkLst>
        <pc:docMk/>
      </pc:docMkLst>
      <pc:sldChg chg="del">
        <pc:chgData name="Guedj, Stephanie D. (she/her/hers)" userId="S::stephanie.guedj@va.gov::2a1c514f-f0ad-44c0-a4bd-b62d586cb351" providerId="AD" clId="Web-{4570F568-A3AB-4C2B-9677-413C678686CD}" dt="2024-10-09T15:12:10.243" v="1"/>
        <pc:sldMkLst>
          <pc:docMk/>
          <pc:sldMk cId="109857222" sldId="256"/>
        </pc:sldMkLst>
      </pc:sldChg>
      <pc:sldChg chg="add modNotes">
        <pc:chgData name="Guedj, Stephanie D. (she/her/hers)" userId="S::stephanie.guedj@va.gov::2a1c514f-f0ad-44c0-a4bd-b62d586cb351" providerId="AD" clId="Web-{4570F568-A3AB-4C2B-9677-413C678686CD}" dt="2024-10-09T15:16:59.434" v="23"/>
        <pc:sldMkLst>
          <pc:docMk/>
          <pc:sldMk cId="2343311824" sldId="265"/>
        </pc:sldMkLst>
      </pc:sldChg>
      <pc:sldChg chg="addSp delSp modSp new modNotes">
        <pc:chgData name="Guedj, Stephanie D. (she/her/hers)" userId="S::stephanie.guedj@va.gov::2a1c514f-f0ad-44c0-a4bd-b62d586cb351" providerId="AD" clId="Web-{4570F568-A3AB-4C2B-9677-413C678686CD}" dt="2024-10-09T15:36:39.432" v="454" actId="20577"/>
        <pc:sldMkLst>
          <pc:docMk/>
          <pc:sldMk cId="2809186044" sldId="266"/>
        </pc:sldMkLst>
        <pc:spChg chg="del mod">
          <ac:chgData name="Guedj, Stephanie D. (she/her/hers)" userId="S::stephanie.guedj@va.gov::2a1c514f-f0ad-44c0-a4bd-b62d586cb351" providerId="AD" clId="Web-{4570F568-A3AB-4C2B-9677-413C678686CD}" dt="2024-10-09T15:18:52.092" v="56"/>
          <ac:spMkLst>
            <pc:docMk/>
            <pc:sldMk cId="2809186044" sldId="266"/>
            <ac:spMk id="2" creationId="{4743A9BD-675D-A28E-EF90-6FC7169A699D}"/>
          </ac:spMkLst>
        </pc:spChg>
        <pc:spChg chg="mod">
          <ac:chgData name="Guedj, Stephanie D. (she/her/hers)" userId="S::stephanie.guedj@va.gov::2a1c514f-f0ad-44c0-a4bd-b62d586cb351" providerId="AD" clId="Web-{4570F568-A3AB-4C2B-9677-413C678686CD}" dt="2024-10-09T15:17:39.622" v="34" actId="20577"/>
          <ac:spMkLst>
            <pc:docMk/>
            <pc:sldMk cId="2809186044" sldId="266"/>
            <ac:spMk id="4" creationId="{C465B68B-70BC-52C6-96AE-4AC9F03A7C4E}"/>
          </ac:spMkLst>
        </pc:spChg>
        <pc:spChg chg="add del mod">
          <ac:chgData name="Guedj, Stephanie D. (she/her/hers)" userId="S::stephanie.guedj@va.gov::2a1c514f-f0ad-44c0-a4bd-b62d586cb351" providerId="AD" clId="Web-{4570F568-A3AB-4C2B-9677-413C678686CD}" dt="2024-10-09T15:36:39.432" v="454" actId="20577"/>
          <ac:spMkLst>
            <pc:docMk/>
            <pc:sldMk cId="2809186044" sldId="266"/>
            <ac:spMk id="6" creationId="{12168C8D-2F43-7598-73A2-0240E783BAF6}"/>
          </ac:spMkLst>
        </pc:spChg>
        <pc:picChg chg="add del mod">
          <ac:chgData name="Guedj, Stephanie D. (she/her/hers)" userId="S::stephanie.guedj@va.gov::2a1c514f-f0ad-44c0-a4bd-b62d586cb351" providerId="AD" clId="Web-{4570F568-A3AB-4C2B-9677-413C678686CD}" dt="2024-10-09T15:19:23.717" v="59"/>
          <ac:picMkLst>
            <pc:docMk/>
            <pc:sldMk cId="2809186044" sldId="266"/>
            <ac:picMk id="7" creationId="{6A6D46AB-2EC6-0248-82F2-0AFB863C9A94}"/>
          </ac:picMkLst>
        </pc:picChg>
      </pc:sldChg>
      <pc:sldChg chg="modSp new del modNotes">
        <pc:chgData name="Guedj, Stephanie D. (she/her/hers)" userId="S::stephanie.guedj@va.gov::2a1c514f-f0ad-44c0-a4bd-b62d586cb351" providerId="AD" clId="Web-{4570F568-A3AB-4C2B-9677-413C678686CD}" dt="2024-10-09T15:45:03.438" v="507"/>
        <pc:sldMkLst>
          <pc:docMk/>
          <pc:sldMk cId="2419130502" sldId="267"/>
        </pc:sldMkLst>
        <pc:spChg chg="mod">
          <ac:chgData name="Guedj, Stephanie D. (she/her/hers)" userId="S::stephanie.guedj@va.gov::2a1c514f-f0ad-44c0-a4bd-b62d586cb351" providerId="AD" clId="Web-{4570F568-A3AB-4C2B-9677-413C678686CD}" dt="2024-10-09T15:25:18.331" v="255" actId="20577"/>
          <ac:spMkLst>
            <pc:docMk/>
            <pc:sldMk cId="2419130502" sldId="267"/>
            <ac:spMk id="4" creationId="{C835CF09-7A8B-64F9-66D5-BB7EB1676B8D}"/>
          </ac:spMkLst>
        </pc:spChg>
      </pc:sldChg>
      <pc:sldChg chg="modSp new modNotes">
        <pc:chgData name="Guedj, Stephanie D. (she/her/hers)" userId="S::stephanie.guedj@va.gov::2a1c514f-f0ad-44c0-a4bd-b62d586cb351" providerId="AD" clId="Web-{4570F568-A3AB-4C2B-9677-413C678686CD}" dt="2024-10-09T15:28:08.473" v="334"/>
        <pc:sldMkLst>
          <pc:docMk/>
          <pc:sldMk cId="1684426285" sldId="268"/>
        </pc:sldMkLst>
        <pc:spChg chg="mod">
          <ac:chgData name="Guedj, Stephanie D. (she/her/hers)" userId="S::stephanie.guedj@va.gov::2a1c514f-f0ad-44c0-a4bd-b62d586cb351" providerId="AD" clId="Web-{4570F568-A3AB-4C2B-9677-413C678686CD}" dt="2024-10-09T15:27:42.676" v="329" actId="20577"/>
          <ac:spMkLst>
            <pc:docMk/>
            <pc:sldMk cId="1684426285" sldId="268"/>
            <ac:spMk id="4" creationId="{2B73225E-6E65-6914-1078-69EBC3BED2B4}"/>
          </ac:spMkLst>
        </pc:spChg>
      </pc:sldChg>
      <pc:sldChg chg="modSp new modNotes">
        <pc:chgData name="Guedj, Stephanie D. (she/her/hers)" userId="S::stephanie.guedj@va.gov::2a1c514f-f0ad-44c0-a4bd-b62d586cb351" providerId="AD" clId="Web-{4570F568-A3AB-4C2B-9677-413C678686CD}" dt="2024-10-09T15:28:56.865" v="358"/>
        <pc:sldMkLst>
          <pc:docMk/>
          <pc:sldMk cId="3407364971" sldId="269"/>
        </pc:sldMkLst>
        <pc:spChg chg="mod">
          <ac:chgData name="Guedj, Stephanie D. (she/her/hers)" userId="S::stephanie.guedj@va.gov::2a1c514f-f0ad-44c0-a4bd-b62d586cb351" providerId="AD" clId="Web-{4570F568-A3AB-4C2B-9677-413C678686CD}" dt="2024-10-09T15:28:22.177" v="353" actId="20577"/>
          <ac:spMkLst>
            <pc:docMk/>
            <pc:sldMk cId="3407364971" sldId="269"/>
            <ac:spMk id="4" creationId="{08D33560-49A6-9362-697B-B4C121E19899}"/>
          </ac:spMkLst>
        </pc:spChg>
      </pc:sldChg>
      <pc:sldChg chg="modSp new modNotes">
        <pc:chgData name="Guedj, Stephanie D. (she/her/hers)" userId="S::stephanie.guedj@va.gov::2a1c514f-f0ad-44c0-a4bd-b62d586cb351" providerId="AD" clId="Web-{4570F568-A3AB-4C2B-9677-413C678686CD}" dt="2024-10-09T15:29:30.646" v="377"/>
        <pc:sldMkLst>
          <pc:docMk/>
          <pc:sldMk cId="3099886817" sldId="270"/>
        </pc:sldMkLst>
        <pc:spChg chg="mod">
          <ac:chgData name="Guedj, Stephanie D. (she/her/hers)" userId="S::stephanie.guedj@va.gov::2a1c514f-f0ad-44c0-a4bd-b62d586cb351" providerId="AD" clId="Web-{4570F568-A3AB-4C2B-9677-413C678686CD}" dt="2024-10-09T15:29:07.083" v="370" actId="20577"/>
          <ac:spMkLst>
            <pc:docMk/>
            <pc:sldMk cId="3099886817" sldId="270"/>
            <ac:spMk id="4" creationId="{437895D1-1895-2822-9138-DC4424BE5898}"/>
          </ac:spMkLst>
        </pc:spChg>
      </pc:sldChg>
      <pc:sldChg chg="modSp new modNotes">
        <pc:chgData name="Guedj, Stephanie D. (she/her/hers)" userId="S::stephanie.guedj@va.gov::2a1c514f-f0ad-44c0-a4bd-b62d586cb351" providerId="AD" clId="Web-{4570F568-A3AB-4C2B-9677-413C678686CD}" dt="2024-10-09T15:32:32.336" v="394"/>
        <pc:sldMkLst>
          <pc:docMk/>
          <pc:sldMk cId="3529800333" sldId="271"/>
        </pc:sldMkLst>
        <pc:spChg chg="mod">
          <ac:chgData name="Guedj, Stephanie D. (she/her/hers)" userId="S::stephanie.guedj@va.gov::2a1c514f-f0ad-44c0-a4bd-b62d586cb351" providerId="AD" clId="Web-{4570F568-A3AB-4C2B-9677-413C678686CD}" dt="2024-10-09T15:32:18.336" v="390" actId="20577"/>
          <ac:spMkLst>
            <pc:docMk/>
            <pc:sldMk cId="3529800333" sldId="271"/>
            <ac:spMk id="4" creationId="{2453A104-A621-B691-11DB-2F8927A3CCD1}"/>
          </ac:spMkLst>
        </pc:spChg>
      </pc:sldChg>
      <pc:sldChg chg="modSp new modNotes">
        <pc:chgData name="Guedj, Stephanie D. (she/her/hers)" userId="S::stephanie.guedj@va.gov::2a1c514f-f0ad-44c0-a4bd-b62d586cb351" providerId="AD" clId="Web-{4570F568-A3AB-4C2B-9677-413C678686CD}" dt="2024-10-09T15:50:02.895" v="514" actId="20577"/>
        <pc:sldMkLst>
          <pc:docMk/>
          <pc:sldMk cId="389760909" sldId="272"/>
        </pc:sldMkLst>
        <pc:spChg chg="mod">
          <ac:chgData name="Guedj, Stephanie D. (she/her/hers)" userId="S::stephanie.guedj@va.gov::2a1c514f-f0ad-44c0-a4bd-b62d586cb351" providerId="AD" clId="Web-{4570F568-A3AB-4C2B-9677-413C678686CD}" dt="2024-10-09T15:50:02.895" v="514" actId="20577"/>
          <ac:spMkLst>
            <pc:docMk/>
            <pc:sldMk cId="389760909" sldId="272"/>
            <ac:spMk id="2" creationId="{848AA0BC-3006-64D6-9D73-053FE9E1848F}"/>
          </ac:spMkLst>
        </pc:spChg>
        <pc:spChg chg="mod">
          <ac:chgData name="Guedj, Stephanie D. (she/her/hers)" userId="S::stephanie.guedj@va.gov::2a1c514f-f0ad-44c0-a4bd-b62d586cb351" providerId="AD" clId="Web-{4570F568-A3AB-4C2B-9677-413C678686CD}" dt="2024-10-09T15:32:52.883" v="402" actId="20577"/>
          <ac:spMkLst>
            <pc:docMk/>
            <pc:sldMk cId="389760909" sldId="272"/>
            <ac:spMk id="4" creationId="{2D73C57F-72DD-0C2A-58ED-5725C203E3A6}"/>
          </ac:spMkLst>
        </pc:spChg>
      </pc:sldChg>
      <pc:sldChg chg="modSp new del">
        <pc:chgData name="Guedj, Stephanie D. (she/her/hers)" userId="S::stephanie.guedj@va.gov::2a1c514f-f0ad-44c0-a4bd-b62d586cb351" providerId="AD" clId="Web-{4570F568-A3AB-4C2B-9677-413C678686CD}" dt="2024-10-09T15:44:24.188" v="504"/>
        <pc:sldMkLst>
          <pc:docMk/>
          <pc:sldMk cId="4020686438" sldId="273"/>
        </pc:sldMkLst>
        <pc:spChg chg="mod">
          <ac:chgData name="Guedj, Stephanie D. (she/her/hers)" userId="S::stephanie.guedj@va.gov::2a1c514f-f0ad-44c0-a4bd-b62d586cb351" providerId="AD" clId="Web-{4570F568-A3AB-4C2B-9677-413C678686CD}" dt="2024-10-09T15:33:50.555" v="416" actId="20577"/>
          <ac:spMkLst>
            <pc:docMk/>
            <pc:sldMk cId="4020686438" sldId="273"/>
            <ac:spMk id="4" creationId="{7943EBAA-9F76-84DB-BC06-9D0341BB9413}"/>
          </ac:spMkLst>
        </pc:spChg>
      </pc:sldChg>
      <pc:sldChg chg="add modNotes">
        <pc:chgData name="Guedj, Stephanie D. (she/her/hers)" userId="S::stephanie.guedj@va.gov::2a1c514f-f0ad-44c0-a4bd-b62d586cb351" providerId="AD" clId="Web-{4570F568-A3AB-4C2B-9677-413C678686CD}" dt="2024-10-09T15:35:16.728" v="423"/>
        <pc:sldMkLst>
          <pc:docMk/>
          <pc:sldMk cId="1474026278" sldId="293"/>
        </pc:sldMkLst>
      </pc:sldChg>
      <pc:sldChg chg="modSp add modNotes">
        <pc:chgData name="Guedj, Stephanie D. (she/her/hers)" userId="S::stephanie.guedj@va.gov::2a1c514f-f0ad-44c0-a4bd-b62d586cb351" providerId="AD" clId="Web-{4570F568-A3AB-4C2B-9677-413C678686CD}" dt="2024-10-09T15:36:21.276" v="453"/>
        <pc:sldMkLst>
          <pc:docMk/>
          <pc:sldMk cId="3270213776" sldId="296"/>
        </pc:sldMkLst>
        <pc:spChg chg="mod">
          <ac:chgData name="Guedj, Stephanie D. (she/her/hers)" userId="S::stephanie.guedj@va.gov::2a1c514f-f0ad-44c0-a4bd-b62d586cb351" providerId="AD" clId="Web-{4570F568-A3AB-4C2B-9677-413C678686CD}" dt="2024-10-09T15:27:25.488" v="312" actId="20577"/>
          <ac:spMkLst>
            <pc:docMk/>
            <pc:sldMk cId="3270213776" sldId="296"/>
            <ac:spMk id="5" creationId="{E6368AA7-883E-4C4D-9676-69CB043DC6A4}"/>
          </ac:spMkLst>
        </pc:spChg>
      </pc:sldChg>
      <pc:sldChg chg="modSp new modNotes">
        <pc:chgData name="Guedj, Stephanie D. (she/her/hers)" userId="S::stephanie.guedj@va.gov::2a1c514f-f0ad-44c0-a4bd-b62d586cb351" providerId="AD" clId="Web-{4570F568-A3AB-4C2B-9677-413C678686CD}" dt="2024-10-09T15:44:52.423" v="506"/>
        <pc:sldMkLst>
          <pc:docMk/>
          <pc:sldMk cId="352600962" sldId="297"/>
        </pc:sldMkLst>
        <pc:spChg chg="mod">
          <ac:chgData name="Guedj, Stephanie D. (she/her/hers)" userId="S::stephanie.guedj@va.gov::2a1c514f-f0ad-44c0-a4bd-b62d586cb351" providerId="AD" clId="Web-{4570F568-A3AB-4C2B-9677-413C678686CD}" dt="2024-10-09T15:44:20.610" v="503" actId="20577"/>
          <ac:spMkLst>
            <pc:docMk/>
            <pc:sldMk cId="352600962" sldId="297"/>
            <ac:spMk id="2" creationId="{A75E7B6B-B01D-F9F2-BDF6-5FD3C6A27870}"/>
          </ac:spMkLst>
        </pc:spChg>
        <pc:spChg chg="mod">
          <ac:chgData name="Guedj, Stephanie D. (she/her/hers)" userId="S::stephanie.guedj@va.gov::2a1c514f-f0ad-44c0-a4bd-b62d586cb351" providerId="AD" clId="Web-{4570F568-A3AB-4C2B-9677-413C678686CD}" dt="2024-10-09T15:40:34.388" v="462" actId="20577"/>
          <ac:spMkLst>
            <pc:docMk/>
            <pc:sldMk cId="352600962" sldId="297"/>
            <ac:spMk id="4" creationId="{3A8CE5BC-997B-04E4-AE1D-9D19D54A2B39}"/>
          </ac:spMkLst>
        </pc:spChg>
      </pc:sldChg>
      <pc:sldChg chg="new del">
        <pc:chgData name="Guedj, Stephanie D. (she/her/hers)" userId="S::stephanie.guedj@va.gov::2a1c514f-f0ad-44c0-a4bd-b62d586cb351" providerId="AD" clId="Web-{4570F568-A3AB-4C2B-9677-413C678686CD}" dt="2024-10-09T15:34:19.134" v="418"/>
        <pc:sldMkLst>
          <pc:docMk/>
          <pc:sldMk cId="3000682513" sldId="297"/>
        </pc:sldMkLst>
      </pc:sldChg>
      <pc:sldMasterChg chg="modSldLayout">
        <pc:chgData name="Guedj, Stephanie D. (she/her/hers)" userId="S::stephanie.guedj@va.gov::2a1c514f-f0ad-44c0-a4bd-b62d586cb351" providerId="AD" clId="Web-{4570F568-A3AB-4C2B-9677-413C678686CD}" dt="2024-10-09T15:12:06.462" v="0"/>
        <pc:sldMasterMkLst>
          <pc:docMk/>
          <pc:sldMasterMk cId="2460954070" sldId="2147483660"/>
        </pc:sldMasterMkLst>
        <pc:sldLayoutChg chg="replId">
          <pc:chgData name="Guedj, Stephanie D. (she/her/hers)" userId="S::stephanie.guedj@va.gov::2a1c514f-f0ad-44c0-a4bd-b62d586cb351" providerId="AD" clId="Web-{4570F568-A3AB-4C2B-9677-413C678686CD}" dt="2024-10-09T15:12:06.462" v="0"/>
          <pc:sldLayoutMkLst>
            <pc:docMk/>
            <pc:sldMasterMk cId="2460954070" sldId="2147483660"/>
            <pc:sldLayoutMk cId="3479445657" sldId="2147483694"/>
          </pc:sldLayoutMkLst>
        </pc:sldLayoutChg>
      </pc:sldMasterChg>
      <pc:sldMasterChg chg="add addSldLayout">
        <pc:chgData name="Guedj, Stephanie D. (she/her/hers)" userId="S::stephanie.guedj@va.gov::2a1c514f-f0ad-44c0-a4bd-b62d586cb351" providerId="AD" clId="Web-{4570F568-A3AB-4C2B-9677-413C678686CD}" dt="2024-10-09T15:12:06.462" v="0"/>
        <pc:sldMasterMkLst>
          <pc:docMk/>
          <pc:sldMasterMk cId="3348051821" sldId="2147483671"/>
        </pc:sldMasterMkLst>
        <pc:sldLayoutChg chg="add">
          <pc:chgData name="Guedj, Stephanie D. (she/her/hers)" userId="S::stephanie.guedj@va.gov::2a1c514f-f0ad-44c0-a4bd-b62d586cb351" providerId="AD" clId="Web-{4570F568-A3AB-4C2B-9677-413C678686CD}" dt="2024-10-09T15:12:06.462" v="0"/>
          <pc:sldLayoutMkLst>
            <pc:docMk/>
            <pc:sldMasterMk cId="3348051821" sldId="2147483671"/>
            <pc:sldLayoutMk cId="691351415" sldId="2147483672"/>
          </pc:sldLayoutMkLst>
        </pc:sldLayoutChg>
        <pc:sldLayoutChg chg="add">
          <pc:chgData name="Guedj, Stephanie D. (she/her/hers)" userId="S::stephanie.guedj@va.gov::2a1c514f-f0ad-44c0-a4bd-b62d586cb351" providerId="AD" clId="Web-{4570F568-A3AB-4C2B-9677-413C678686CD}" dt="2024-10-09T15:12:06.462" v="0"/>
          <pc:sldLayoutMkLst>
            <pc:docMk/>
            <pc:sldMasterMk cId="3348051821" sldId="2147483671"/>
            <pc:sldLayoutMk cId="2307435921" sldId="2147483673"/>
          </pc:sldLayoutMkLst>
        </pc:sldLayoutChg>
        <pc:sldLayoutChg chg="add">
          <pc:chgData name="Guedj, Stephanie D. (she/her/hers)" userId="S::stephanie.guedj@va.gov::2a1c514f-f0ad-44c0-a4bd-b62d586cb351" providerId="AD" clId="Web-{4570F568-A3AB-4C2B-9677-413C678686CD}" dt="2024-10-09T15:12:06.462" v="0"/>
          <pc:sldLayoutMkLst>
            <pc:docMk/>
            <pc:sldMasterMk cId="3348051821" sldId="2147483671"/>
            <pc:sldLayoutMk cId="741461319" sldId="2147483674"/>
          </pc:sldLayoutMkLst>
        </pc:sldLayoutChg>
        <pc:sldLayoutChg chg="add">
          <pc:chgData name="Guedj, Stephanie D. (she/her/hers)" userId="S::stephanie.guedj@va.gov::2a1c514f-f0ad-44c0-a4bd-b62d586cb351" providerId="AD" clId="Web-{4570F568-A3AB-4C2B-9677-413C678686CD}" dt="2024-10-09T15:12:06.462" v="0"/>
          <pc:sldLayoutMkLst>
            <pc:docMk/>
            <pc:sldMasterMk cId="3348051821" sldId="2147483671"/>
            <pc:sldLayoutMk cId="376100929" sldId="2147483675"/>
          </pc:sldLayoutMkLst>
        </pc:sldLayoutChg>
        <pc:sldLayoutChg chg="add">
          <pc:chgData name="Guedj, Stephanie D. (she/her/hers)" userId="S::stephanie.guedj@va.gov::2a1c514f-f0ad-44c0-a4bd-b62d586cb351" providerId="AD" clId="Web-{4570F568-A3AB-4C2B-9677-413C678686CD}" dt="2024-10-09T15:12:06.462" v="0"/>
          <pc:sldLayoutMkLst>
            <pc:docMk/>
            <pc:sldMasterMk cId="3348051821" sldId="2147483671"/>
            <pc:sldLayoutMk cId="1446620502" sldId="2147483676"/>
          </pc:sldLayoutMkLst>
        </pc:sldLayoutChg>
        <pc:sldLayoutChg chg="add">
          <pc:chgData name="Guedj, Stephanie D. (she/her/hers)" userId="S::stephanie.guedj@va.gov::2a1c514f-f0ad-44c0-a4bd-b62d586cb351" providerId="AD" clId="Web-{4570F568-A3AB-4C2B-9677-413C678686CD}" dt="2024-10-09T15:12:06.462" v="0"/>
          <pc:sldLayoutMkLst>
            <pc:docMk/>
            <pc:sldMasterMk cId="3348051821" sldId="2147483671"/>
            <pc:sldLayoutMk cId="3730607203" sldId="2147483677"/>
          </pc:sldLayoutMkLst>
        </pc:sldLayoutChg>
        <pc:sldLayoutChg chg="add">
          <pc:chgData name="Guedj, Stephanie D. (she/her/hers)" userId="S::stephanie.guedj@va.gov::2a1c514f-f0ad-44c0-a4bd-b62d586cb351" providerId="AD" clId="Web-{4570F568-A3AB-4C2B-9677-413C678686CD}" dt="2024-10-09T15:12:06.462" v="0"/>
          <pc:sldLayoutMkLst>
            <pc:docMk/>
            <pc:sldMasterMk cId="3348051821" sldId="2147483671"/>
            <pc:sldLayoutMk cId="3391947036" sldId="2147483678"/>
          </pc:sldLayoutMkLst>
        </pc:sldLayoutChg>
        <pc:sldLayoutChg chg="add">
          <pc:chgData name="Guedj, Stephanie D. (she/her/hers)" userId="S::stephanie.guedj@va.gov::2a1c514f-f0ad-44c0-a4bd-b62d586cb351" providerId="AD" clId="Web-{4570F568-A3AB-4C2B-9677-413C678686CD}" dt="2024-10-09T15:12:06.462" v="0"/>
          <pc:sldLayoutMkLst>
            <pc:docMk/>
            <pc:sldMasterMk cId="3348051821" sldId="2147483671"/>
            <pc:sldLayoutMk cId="2883707410" sldId="2147483679"/>
          </pc:sldLayoutMkLst>
        </pc:sldLayoutChg>
        <pc:sldLayoutChg chg="add">
          <pc:chgData name="Guedj, Stephanie D. (she/her/hers)" userId="S::stephanie.guedj@va.gov::2a1c514f-f0ad-44c0-a4bd-b62d586cb351" providerId="AD" clId="Web-{4570F568-A3AB-4C2B-9677-413C678686CD}" dt="2024-10-09T15:12:06.462" v="0"/>
          <pc:sldLayoutMkLst>
            <pc:docMk/>
            <pc:sldMasterMk cId="3348051821" sldId="2147483671"/>
            <pc:sldLayoutMk cId="3536628066" sldId="2147483680"/>
          </pc:sldLayoutMkLst>
        </pc:sldLayoutChg>
        <pc:sldLayoutChg chg="add">
          <pc:chgData name="Guedj, Stephanie D. (she/her/hers)" userId="S::stephanie.guedj@va.gov::2a1c514f-f0ad-44c0-a4bd-b62d586cb351" providerId="AD" clId="Web-{4570F568-A3AB-4C2B-9677-413C678686CD}" dt="2024-10-09T15:12:06.462" v="0"/>
          <pc:sldLayoutMkLst>
            <pc:docMk/>
            <pc:sldMasterMk cId="3348051821" sldId="2147483671"/>
            <pc:sldLayoutMk cId="3884213035" sldId="2147483681"/>
          </pc:sldLayoutMkLst>
        </pc:sldLayoutChg>
        <pc:sldLayoutChg chg="add">
          <pc:chgData name="Guedj, Stephanie D. (she/her/hers)" userId="S::stephanie.guedj@va.gov::2a1c514f-f0ad-44c0-a4bd-b62d586cb351" providerId="AD" clId="Web-{4570F568-A3AB-4C2B-9677-413C678686CD}" dt="2024-10-09T15:12:06.462" v="0"/>
          <pc:sldLayoutMkLst>
            <pc:docMk/>
            <pc:sldMasterMk cId="3348051821" sldId="2147483671"/>
            <pc:sldLayoutMk cId="3648360747" sldId="2147483685"/>
          </pc:sldLayoutMkLst>
        </pc:sldLayoutChg>
        <pc:sldLayoutChg chg="add">
          <pc:chgData name="Guedj, Stephanie D. (she/her/hers)" userId="S::stephanie.guedj@va.gov::2a1c514f-f0ad-44c0-a4bd-b62d586cb351" providerId="AD" clId="Web-{4570F568-A3AB-4C2B-9677-413C678686CD}" dt="2024-10-09T15:12:06.462" v="0"/>
          <pc:sldLayoutMkLst>
            <pc:docMk/>
            <pc:sldMasterMk cId="3348051821" sldId="2147483671"/>
            <pc:sldLayoutMk cId="2281815596" sldId="2147483686"/>
          </pc:sldLayoutMkLst>
        </pc:sldLayoutChg>
        <pc:sldLayoutChg chg="add">
          <pc:chgData name="Guedj, Stephanie D. (she/her/hers)" userId="S::stephanie.guedj@va.gov::2a1c514f-f0ad-44c0-a4bd-b62d586cb351" providerId="AD" clId="Web-{4570F568-A3AB-4C2B-9677-413C678686CD}" dt="2024-10-09T15:12:06.462" v="0"/>
          <pc:sldLayoutMkLst>
            <pc:docMk/>
            <pc:sldMasterMk cId="3348051821" sldId="2147483671"/>
            <pc:sldLayoutMk cId="1050235140" sldId="2147483688"/>
          </pc:sldLayoutMkLst>
        </pc:sldLayoutChg>
        <pc:sldLayoutChg chg="add">
          <pc:chgData name="Guedj, Stephanie D. (she/her/hers)" userId="S::stephanie.guedj@va.gov::2a1c514f-f0ad-44c0-a4bd-b62d586cb351" providerId="AD" clId="Web-{4570F568-A3AB-4C2B-9677-413C678686CD}" dt="2024-10-09T15:12:06.462" v="0"/>
          <pc:sldLayoutMkLst>
            <pc:docMk/>
            <pc:sldMasterMk cId="3348051821" sldId="2147483671"/>
            <pc:sldLayoutMk cId="1228848906" sldId="2147483692"/>
          </pc:sldLayoutMkLst>
        </pc:sldLayoutChg>
        <pc:sldLayoutChg chg="add">
          <pc:chgData name="Guedj, Stephanie D. (she/her/hers)" userId="S::stephanie.guedj@va.gov::2a1c514f-f0ad-44c0-a4bd-b62d586cb351" providerId="AD" clId="Web-{4570F568-A3AB-4C2B-9677-413C678686CD}" dt="2024-10-09T15:12:06.462" v="0"/>
          <pc:sldLayoutMkLst>
            <pc:docMk/>
            <pc:sldMasterMk cId="3348051821" sldId="2147483671"/>
            <pc:sldLayoutMk cId="3259796241" sldId="2147483693"/>
          </pc:sldLayoutMkLst>
        </pc:sldLayoutChg>
        <pc:sldLayoutChg chg="add">
          <pc:chgData name="Guedj, Stephanie D. (she/her/hers)" userId="S::stephanie.guedj@va.gov::2a1c514f-f0ad-44c0-a4bd-b62d586cb351" providerId="AD" clId="Web-{4570F568-A3AB-4C2B-9677-413C678686CD}" dt="2024-10-09T15:12:06.462" v="0"/>
          <pc:sldLayoutMkLst>
            <pc:docMk/>
            <pc:sldMasterMk cId="3348051821" sldId="2147483671"/>
            <pc:sldLayoutMk cId="1118634679" sldId="2147483710"/>
          </pc:sldLayoutMkLst>
        </pc:sldLayoutChg>
        <pc:sldLayoutChg chg="add">
          <pc:chgData name="Guedj, Stephanie D. (she/her/hers)" userId="S::stephanie.guedj@va.gov::2a1c514f-f0ad-44c0-a4bd-b62d586cb351" providerId="AD" clId="Web-{4570F568-A3AB-4C2B-9677-413C678686CD}" dt="2024-10-09T15:12:06.462" v="0"/>
          <pc:sldLayoutMkLst>
            <pc:docMk/>
            <pc:sldMasterMk cId="3348051821" sldId="2147483671"/>
            <pc:sldLayoutMk cId="328630434" sldId="2147483711"/>
          </pc:sldLayoutMkLst>
        </pc:sldLayoutChg>
        <pc:sldLayoutChg chg="add">
          <pc:chgData name="Guedj, Stephanie D. (she/her/hers)" userId="S::stephanie.guedj@va.gov::2a1c514f-f0ad-44c0-a4bd-b62d586cb351" providerId="AD" clId="Web-{4570F568-A3AB-4C2B-9677-413C678686CD}" dt="2024-10-09T15:12:06.462" v="0"/>
          <pc:sldLayoutMkLst>
            <pc:docMk/>
            <pc:sldMasterMk cId="3348051821" sldId="2147483671"/>
            <pc:sldLayoutMk cId="2436761465" sldId="2147483712"/>
          </pc:sldLayoutMkLst>
        </pc:sldLayoutChg>
        <pc:sldLayoutChg chg="add">
          <pc:chgData name="Guedj, Stephanie D. (she/her/hers)" userId="S::stephanie.guedj@va.gov::2a1c514f-f0ad-44c0-a4bd-b62d586cb351" providerId="AD" clId="Web-{4570F568-A3AB-4C2B-9677-413C678686CD}" dt="2024-10-09T15:12:06.462" v="0"/>
          <pc:sldLayoutMkLst>
            <pc:docMk/>
            <pc:sldMasterMk cId="3348051821" sldId="2147483671"/>
            <pc:sldLayoutMk cId="1381639276" sldId="2147483713"/>
          </pc:sldLayoutMkLst>
        </pc:sldLayoutChg>
      </pc:sldMasterChg>
    </pc:docChg>
  </pc:docChgLst>
  <pc:docChgLst>
    <pc:chgData name="Guedj, Stephanie D. (she/her/hers)" userId="S::stephanie.guedj@va.gov::2a1c514f-f0ad-44c0-a4bd-b62d586cb351" providerId="AD" clId="Web-{51C4E140-32A2-4F6F-AA4F-8230A481394B}"/>
    <pc:docChg chg="modSld">
      <pc:chgData name="Guedj, Stephanie D. (she/her/hers)" userId="S::stephanie.guedj@va.gov::2a1c514f-f0ad-44c0-a4bd-b62d586cb351" providerId="AD" clId="Web-{51C4E140-32A2-4F6F-AA4F-8230A481394B}" dt="2024-10-14T18:04:27.028" v="56" actId="20577"/>
      <pc:docMkLst>
        <pc:docMk/>
      </pc:docMkLst>
      <pc:sldChg chg="modSp">
        <pc:chgData name="Guedj, Stephanie D. (she/her/hers)" userId="S::stephanie.guedj@va.gov::2a1c514f-f0ad-44c0-a4bd-b62d586cb351" providerId="AD" clId="Web-{51C4E140-32A2-4F6F-AA4F-8230A481394B}" dt="2024-10-14T18:04:27.028" v="56" actId="20577"/>
        <pc:sldMkLst>
          <pc:docMk/>
          <pc:sldMk cId="397032392" sldId="300"/>
        </pc:sldMkLst>
        <pc:spChg chg="mod">
          <ac:chgData name="Guedj, Stephanie D. (she/her/hers)" userId="S::stephanie.guedj@va.gov::2a1c514f-f0ad-44c0-a4bd-b62d586cb351" providerId="AD" clId="Web-{51C4E140-32A2-4F6F-AA4F-8230A481394B}" dt="2024-10-14T18:04:27.028" v="56" actId="20577"/>
          <ac:spMkLst>
            <pc:docMk/>
            <pc:sldMk cId="397032392" sldId="300"/>
            <ac:spMk id="2" creationId="{4F7B3EA3-38D3-9776-EA38-55B5597E74F3}"/>
          </ac:spMkLst>
        </pc:spChg>
      </pc:sldChg>
    </pc:docChg>
  </pc:docChgLst>
  <pc:docChgLst>
    <pc:chgData name="Guedj, Stephanie D. (she/her/hers)" userId="S::stephanie.guedj@va.gov::2a1c514f-f0ad-44c0-a4bd-b62d586cb351" providerId="AD" clId="Web-{116658A5-5E94-4D3A-90A7-9B915C0E6593}"/>
    <pc:docChg chg="addSld delSld modSld">
      <pc:chgData name="Guedj, Stephanie D. (she/her/hers)" userId="S::stephanie.guedj@va.gov::2a1c514f-f0ad-44c0-a4bd-b62d586cb351" providerId="AD" clId="Web-{116658A5-5E94-4D3A-90A7-9B915C0E6593}" dt="2024-10-09T18:27:34.103" v="2552" actId="20577"/>
      <pc:docMkLst>
        <pc:docMk/>
      </pc:docMkLst>
      <pc:sldChg chg="modNotes">
        <pc:chgData name="Guedj, Stephanie D. (she/her/hers)" userId="S::stephanie.guedj@va.gov::2a1c514f-f0ad-44c0-a4bd-b62d586cb351" providerId="AD" clId="Web-{116658A5-5E94-4D3A-90A7-9B915C0E6593}" dt="2024-10-09T17:56:13.790" v="2045"/>
        <pc:sldMkLst>
          <pc:docMk/>
          <pc:sldMk cId="2343311824" sldId="265"/>
        </pc:sldMkLst>
      </pc:sldChg>
      <pc:sldChg chg="modNotes">
        <pc:chgData name="Guedj, Stephanie D. (she/her/hers)" userId="S::stephanie.guedj@va.gov::2a1c514f-f0ad-44c0-a4bd-b62d586cb351" providerId="AD" clId="Web-{116658A5-5E94-4D3A-90A7-9B915C0E6593}" dt="2024-10-09T17:15:52.242" v="1031"/>
        <pc:sldMkLst>
          <pc:docMk/>
          <pc:sldMk cId="2809186044" sldId="266"/>
        </pc:sldMkLst>
      </pc:sldChg>
      <pc:sldChg chg="modSp modNotes">
        <pc:chgData name="Guedj, Stephanie D. (she/her/hers)" userId="S::stephanie.guedj@va.gov::2a1c514f-f0ad-44c0-a4bd-b62d586cb351" providerId="AD" clId="Web-{116658A5-5E94-4D3A-90A7-9B915C0E6593}" dt="2024-10-09T17:17:44.351" v="1040"/>
        <pc:sldMkLst>
          <pc:docMk/>
          <pc:sldMk cId="1684426285" sldId="268"/>
        </pc:sldMkLst>
        <pc:spChg chg="mod">
          <ac:chgData name="Guedj, Stephanie D. (she/her/hers)" userId="S::stephanie.guedj@va.gov::2a1c514f-f0ad-44c0-a4bd-b62d586cb351" providerId="AD" clId="Web-{116658A5-5E94-4D3A-90A7-9B915C0E6593}" dt="2024-10-09T17:13:39.291" v="1022" actId="20577"/>
          <ac:spMkLst>
            <pc:docMk/>
            <pc:sldMk cId="1684426285" sldId="268"/>
            <ac:spMk id="2" creationId="{2900063C-AAA6-4861-E282-447FB24D1450}"/>
          </ac:spMkLst>
        </pc:spChg>
      </pc:sldChg>
      <pc:sldChg chg="addSp delSp modSp modNotes">
        <pc:chgData name="Guedj, Stephanie D. (she/her/hers)" userId="S::stephanie.guedj@va.gov::2a1c514f-f0ad-44c0-a4bd-b62d586cb351" providerId="AD" clId="Web-{116658A5-5E94-4D3A-90A7-9B915C0E6593}" dt="2024-10-09T18:06:07.754" v="2143"/>
        <pc:sldMkLst>
          <pc:docMk/>
          <pc:sldMk cId="3407364971" sldId="269"/>
        </pc:sldMkLst>
        <pc:spChg chg="del">
          <ac:chgData name="Guedj, Stephanie D. (she/her/hers)" userId="S::stephanie.guedj@va.gov::2a1c514f-f0ad-44c0-a4bd-b62d586cb351" providerId="AD" clId="Web-{116658A5-5E94-4D3A-90A7-9B915C0E6593}" dt="2024-10-09T17:58:44.492" v="2046"/>
          <ac:spMkLst>
            <pc:docMk/>
            <pc:sldMk cId="3407364971" sldId="269"/>
            <ac:spMk id="2" creationId="{2B0851E4-5C89-DECE-2F03-667C9C49ED60}"/>
          </ac:spMkLst>
        </pc:spChg>
        <pc:spChg chg="add del mod">
          <ac:chgData name="Guedj, Stephanie D. (she/her/hers)" userId="S::stephanie.guedj@va.gov::2a1c514f-f0ad-44c0-a4bd-b62d586cb351" providerId="AD" clId="Web-{116658A5-5E94-4D3A-90A7-9B915C0E6593}" dt="2024-10-09T18:01:38.928" v="2048"/>
          <ac:spMkLst>
            <pc:docMk/>
            <pc:sldMk cId="3407364971" sldId="269"/>
            <ac:spMk id="7" creationId="{72626775-B692-F664-6485-358C44750E02}"/>
          </ac:spMkLst>
        </pc:spChg>
        <pc:spChg chg="add del mod">
          <ac:chgData name="Guedj, Stephanie D. (she/her/hers)" userId="S::stephanie.guedj@va.gov::2a1c514f-f0ad-44c0-a4bd-b62d586cb351" providerId="AD" clId="Web-{116658A5-5E94-4D3A-90A7-9B915C0E6593}" dt="2024-10-09T18:04:14.646" v="2132"/>
          <ac:spMkLst>
            <pc:docMk/>
            <pc:sldMk cId="3407364971" sldId="269"/>
            <ac:spMk id="1116" creationId="{3DAF2E11-FFCB-7E02-C4A8-C2E482717C50}"/>
          </ac:spMkLst>
        </pc:spChg>
        <pc:graphicFrameChg chg="add del mod ord modGraphic">
          <ac:chgData name="Guedj, Stephanie D. (she/her/hers)" userId="S::stephanie.guedj@va.gov::2a1c514f-f0ad-44c0-a4bd-b62d586cb351" providerId="AD" clId="Web-{116658A5-5E94-4D3A-90A7-9B915C0E6593}" dt="2024-10-09T18:04:05.411" v="2131"/>
          <ac:graphicFrameMkLst>
            <pc:docMk/>
            <pc:sldMk cId="3407364971" sldId="269"/>
            <ac:graphicFrameMk id="8" creationId="{7DB54501-CA55-1DEB-A44E-C59157A0E475}"/>
          </ac:graphicFrameMkLst>
        </pc:graphicFrameChg>
        <pc:picChg chg="add del mod ord">
          <ac:chgData name="Guedj, Stephanie D. (she/her/hers)" userId="S::stephanie.guedj@va.gov::2a1c514f-f0ad-44c0-a4bd-b62d586cb351" providerId="AD" clId="Web-{116658A5-5E94-4D3A-90A7-9B915C0E6593}" dt="2024-10-09T18:01:36.241" v="2047"/>
          <ac:picMkLst>
            <pc:docMk/>
            <pc:sldMk cId="3407364971" sldId="269"/>
            <ac:picMk id="5" creationId="{5CED81AD-B1F5-CDFC-8092-AB8C48CA55DF}"/>
          </ac:picMkLst>
        </pc:picChg>
        <pc:picChg chg="add mod ord">
          <ac:chgData name="Guedj, Stephanie D. (she/her/hers)" userId="S::stephanie.guedj@va.gov::2a1c514f-f0ad-44c0-a4bd-b62d586cb351" providerId="AD" clId="Web-{116658A5-5E94-4D3A-90A7-9B915C0E6593}" dt="2024-10-09T18:04:26.083" v="2135" actId="1076"/>
          <ac:picMkLst>
            <pc:docMk/>
            <pc:sldMk cId="3407364971" sldId="269"/>
            <ac:picMk id="1117" creationId="{7531B086-5FB9-3177-B291-CBC1F07E41CA}"/>
          </ac:picMkLst>
        </pc:picChg>
      </pc:sldChg>
      <pc:sldChg chg="addSp delSp modSp modNotes">
        <pc:chgData name="Guedj, Stephanie D. (she/her/hers)" userId="S::stephanie.guedj@va.gov::2a1c514f-f0ad-44c0-a4bd-b62d586cb351" providerId="AD" clId="Web-{116658A5-5E94-4D3A-90A7-9B915C0E6593}" dt="2024-10-09T18:05:20.161" v="2139"/>
        <pc:sldMkLst>
          <pc:docMk/>
          <pc:sldMk cId="3099886817" sldId="270"/>
        </pc:sldMkLst>
        <pc:spChg chg="del">
          <ac:chgData name="Guedj, Stephanie D. (she/her/hers)" userId="S::stephanie.guedj@va.gov::2a1c514f-f0ad-44c0-a4bd-b62d586cb351" providerId="AD" clId="Web-{116658A5-5E94-4D3A-90A7-9B915C0E6593}" dt="2024-10-09T17:22:02.602" v="1094"/>
          <ac:spMkLst>
            <pc:docMk/>
            <pc:sldMk cId="3099886817" sldId="270"/>
            <ac:spMk id="2" creationId="{D76072B6-C844-B6F6-8268-B9E8A5881585}"/>
          </ac:spMkLst>
        </pc:spChg>
        <pc:graphicFrameChg chg="add mod ord modGraphic">
          <ac:chgData name="Guedj, Stephanie D. (she/her/hers)" userId="S::stephanie.guedj@va.gov::2a1c514f-f0ad-44c0-a4bd-b62d586cb351" providerId="AD" clId="Web-{116658A5-5E94-4D3A-90A7-9B915C0E6593}" dt="2024-10-09T18:05:20.161" v="2139"/>
          <ac:graphicFrameMkLst>
            <pc:docMk/>
            <pc:sldMk cId="3099886817" sldId="270"/>
            <ac:graphicFrameMk id="5" creationId="{F3E32E7C-4FD7-B7CC-0F73-FE8D680B39AF}"/>
          </ac:graphicFrameMkLst>
        </pc:graphicFrameChg>
      </pc:sldChg>
      <pc:sldChg chg="modSp modNotes">
        <pc:chgData name="Guedj, Stephanie D. (she/her/hers)" userId="S::stephanie.guedj@va.gov::2a1c514f-f0ad-44c0-a4bd-b62d586cb351" providerId="AD" clId="Web-{116658A5-5E94-4D3A-90A7-9B915C0E6593}" dt="2024-10-09T18:21:11.169" v="2240"/>
        <pc:sldMkLst>
          <pc:docMk/>
          <pc:sldMk cId="3529800333" sldId="271"/>
        </pc:sldMkLst>
        <pc:spChg chg="mod">
          <ac:chgData name="Guedj, Stephanie D. (she/her/hers)" userId="S::stephanie.guedj@va.gov::2a1c514f-f0ad-44c0-a4bd-b62d586cb351" providerId="AD" clId="Web-{116658A5-5E94-4D3A-90A7-9B915C0E6593}" dt="2024-10-09T18:18:27.264" v="2195" actId="20577"/>
          <ac:spMkLst>
            <pc:docMk/>
            <pc:sldMk cId="3529800333" sldId="271"/>
            <ac:spMk id="2" creationId="{18E25698-3CF6-EEC7-61AE-EB3C3FCAC733}"/>
          </ac:spMkLst>
        </pc:spChg>
      </pc:sldChg>
      <pc:sldChg chg="modNotes">
        <pc:chgData name="Guedj, Stephanie D. (she/her/hers)" userId="S::stephanie.guedj@va.gov::2a1c514f-f0ad-44c0-a4bd-b62d586cb351" providerId="AD" clId="Web-{116658A5-5E94-4D3A-90A7-9B915C0E6593}" dt="2024-10-09T17:16:11.336" v="1034"/>
        <pc:sldMkLst>
          <pc:docMk/>
          <pc:sldMk cId="3270213776" sldId="296"/>
        </pc:sldMkLst>
      </pc:sldChg>
      <pc:sldChg chg="modSp">
        <pc:chgData name="Guedj, Stephanie D. (she/her/hers)" userId="S::stephanie.guedj@va.gov::2a1c514f-f0ad-44c0-a4bd-b62d586cb351" providerId="AD" clId="Web-{116658A5-5E94-4D3A-90A7-9B915C0E6593}" dt="2024-10-09T17:55:33.212" v="2042" actId="20577"/>
        <pc:sldMkLst>
          <pc:docMk/>
          <pc:sldMk cId="352600962" sldId="297"/>
        </pc:sldMkLst>
        <pc:spChg chg="mod">
          <ac:chgData name="Guedj, Stephanie D. (she/her/hers)" userId="S::stephanie.guedj@va.gov::2a1c514f-f0ad-44c0-a4bd-b62d586cb351" providerId="AD" clId="Web-{116658A5-5E94-4D3A-90A7-9B915C0E6593}" dt="2024-10-09T17:55:33.212" v="2042" actId="20577"/>
          <ac:spMkLst>
            <pc:docMk/>
            <pc:sldMk cId="352600962" sldId="297"/>
            <ac:spMk id="2" creationId="{A75E7B6B-B01D-F9F2-BDF6-5FD3C6A27870}"/>
          </ac:spMkLst>
        </pc:spChg>
      </pc:sldChg>
      <pc:sldChg chg="modSp new">
        <pc:chgData name="Guedj, Stephanie D. (she/her/hers)" userId="S::stephanie.guedj@va.gov::2a1c514f-f0ad-44c0-a4bd-b62d586cb351" providerId="AD" clId="Web-{116658A5-5E94-4D3A-90A7-9B915C0E6593}" dt="2024-10-09T18:27:34.103" v="2552" actId="20577"/>
        <pc:sldMkLst>
          <pc:docMk/>
          <pc:sldMk cId="111468462" sldId="298"/>
        </pc:sldMkLst>
        <pc:spChg chg="mod">
          <ac:chgData name="Guedj, Stephanie D. (she/her/hers)" userId="S::stephanie.guedj@va.gov::2a1c514f-f0ad-44c0-a4bd-b62d586cb351" providerId="AD" clId="Web-{116658A5-5E94-4D3A-90A7-9B915C0E6593}" dt="2024-10-09T18:27:34.103" v="2552" actId="20577"/>
          <ac:spMkLst>
            <pc:docMk/>
            <pc:sldMk cId="111468462" sldId="298"/>
            <ac:spMk id="2" creationId="{D717D3A6-1E80-7D90-1926-C467ED681D85}"/>
          </ac:spMkLst>
        </pc:spChg>
        <pc:spChg chg="mod">
          <ac:chgData name="Guedj, Stephanie D. (she/her/hers)" userId="S::stephanie.guedj@va.gov::2a1c514f-f0ad-44c0-a4bd-b62d586cb351" providerId="AD" clId="Web-{116658A5-5E94-4D3A-90A7-9B915C0E6593}" dt="2024-10-09T18:23:55.011" v="2272" actId="20577"/>
          <ac:spMkLst>
            <pc:docMk/>
            <pc:sldMk cId="111468462" sldId="298"/>
            <ac:spMk id="4" creationId="{8B8A026F-6AC6-A716-5223-E5792A613118}"/>
          </ac:spMkLst>
        </pc:spChg>
      </pc:sldChg>
      <pc:sldChg chg="modSp add del modNotes">
        <pc:chgData name="Guedj, Stephanie D. (she/her/hers)" userId="S::stephanie.guedj@va.gov::2a1c514f-f0ad-44c0-a4bd-b62d586cb351" providerId="AD" clId="Web-{116658A5-5E94-4D3A-90A7-9B915C0E6593}" dt="2024-10-09T18:21:31.919" v="2241"/>
        <pc:sldMkLst>
          <pc:docMk/>
          <pc:sldMk cId="1832515695" sldId="2076138162"/>
        </pc:sldMkLst>
        <pc:spChg chg="mod">
          <ac:chgData name="Guedj, Stephanie D. (she/her/hers)" userId="S::stephanie.guedj@va.gov::2a1c514f-f0ad-44c0-a4bd-b62d586cb351" providerId="AD" clId="Web-{116658A5-5E94-4D3A-90A7-9B915C0E6593}" dt="2024-10-09T16:48:03.337" v="215" actId="1076"/>
          <ac:spMkLst>
            <pc:docMk/>
            <pc:sldMk cId="1832515695" sldId="2076138162"/>
            <ac:spMk id="4" creationId="{59A8E6B1-6BDC-8AA5-15B7-6AA8AFA8BBAB}"/>
          </ac:spMkLst>
        </pc:spChg>
      </pc:sldChg>
    </pc:docChg>
  </pc:docChgLst>
  <pc:docChgLst>
    <pc:chgData name="Guedj, Stephanie D. (she/her/hers)" userId="S::stephanie.guedj@va.gov::2a1c514f-f0ad-44c0-a4bd-b62d586cb351" providerId="AD" clId="Web-{F95C8CA9-6724-44A1-8598-38E47311817A}"/>
    <pc:docChg chg="modSld">
      <pc:chgData name="Guedj, Stephanie D. (she/her/hers)" userId="S::stephanie.guedj@va.gov::2a1c514f-f0ad-44c0-a4bd-b62d586cb351" providerId="AD" clId="Web-{F95C8CA9-6724-44A1-8598-38E47311817A}" dt="2024-10-15T17:05:04.679" v="261" actId="20577"/>
      <pc:docMkLst>
        <pc:docMk/>
      </pc:docMkLst>
      <pc:sldChg chg="modNotes">
        <pc:chgData name="Guedj, Stephanie D. (she/her/hers)" userId="S::stephanie.guedj@va.gov::2a1c514f-f0ad-44c0-a4bd-b62d586cb351" providerId="AD" clId="Web-{F95C8CA9-6724-44A1-8598-38E47311817A}" dt="2024-10-15T17:00:57.369" v="99"/>
        <pc:sldMkLst>
          <pc:docMk/>
          <pc:sldMk cId="491692405" sldId="1868"/>
        </pc:sldMkLst>
      </pc:sldChg>
      <pc:sldChg chg="modSp modNotes">
        <pc:chgData name="Guedj, Stephanie D. (she/her/hers)" userId="S::stephanie.guedj@va.gov::2a1c514f-f0ad-44c0-a4bd-b62d586cb351" providerId="AD" clId="Web-{F95C8CA9-6724-44A1-8598-38E47311817A}" dt="2024-10-15T17:05:04.679" v="261" actId="20577"/>
        <pc:sldMkLst>
          <pc:docMk/>
          <pc:sldMk cId="3377598115" sldId="1869"/>
        </pc:sldMkLst>
        <pc:spChg chg="mod">
          <ac:chgData name="Guedj, Stephanie D. (she/her/hers)" userId="S::stephanie.guedj@va.gov::2a1c514f-f0ad-44c0-a4bd-b62d586cb351" providerId="AD" clId="Web-{F95C8CA9-6724-44A1-8598-38E47311817A}" dt="2024-10-15T17:05:04.679" v="261" actId="20577"/>
          <ac:spMkLst>
            <pc:docMk/>
            <pc:sldMk cId="3377598115" sldId="1869"/>
            <ac:spMk id="3" creationId="{D6E8C12A-D9BD-474F-AC55-B3EDF24DC27F}"/>
          </ac:spMkLst>
        </pc:spChg>
      </pc:sldChg>
    </pc:docChg>
  </pc:docChgLst>
  <pc:docChgLst>
    <pc:chgData name="Guedj, Stephanie D. (she/her/hers)" userId="S::stephanie.guedj@va.gov::2a1c514f-f0ad-44c0-a4bd-b62d586cb351" providerId="AD" clId="Web-{3107F623-2A34-4801-9992-60E97D7440E0}"/>
    <pc:docChg chg="modSld">
      <pc:chgData name="Guedj, Stephanie D. (she/her/hers)" userId="S::stephanie.guedj@va.gov::2a1c514f-f0ad-44c0-a4bd-b62d586cb351" providerId="AD" clId="Web-{3107F623-2A34-4801-9992-60E97D7440E0}" dt="2024-10-15T19:21:18.414" v="23"/>
      <pc:docMkLst>
        <pc:docMk/>
      </pc:docMkLst>
      <pc:sldChg chg="modNotes">
        <pc:chgData name="Guedj, Stephanie D. (she/her/hers)" userId="S::stephanie.guedj@va.gov::2a1c514f-f0ad-44c0-a4bd-b62d586cb351" providerId="AD" clId="Web-{3107F623-2A34-4801-9992-60E97D7440E0}" dt="2024-10-15T19:19:53.710" v="0"/>
        <pc:sldMkLst>
          <pc:docMk/>
          <pc:sldMk cId="2343311824" sldId="265"/>
        </pc:sldMkLst>
      </pc:sldChg>
      <pc:sldChg chg="modNotes">
        <pc:chgData name="Guedj, Stephanie D. (she/her/hers)" userId="S::stephanie.guedj@va.gov::2a1c514f-f0ad-44c0-a4bd-b62d586cb351" providerId="AD" clId="Web-{3107F623-2A34-4801-9992-60E97D7440E0}" dt="2024-10-15T19:19:57.444" v="1"/>
        <pc:sldMkLst>
          <pc:docMk/>
          <pc:sldMk cId="2809186044" sldId="266"/>
        </pc:sldMkLst>
      </pc:sldChg>
      <pc:sldChg chg="modNotes">
        <pc:chgData name="Guedj, Stephanie D. (she/her/hers)" userId="S::stephanie.guedj@va.gov::2a1c514f-f0ad-44c0-a4bd-b62d586cb351" providerId="AD" clId="Web-{3107F623-2A34-4801-9992-60E97D7440E0}" dt="2024-10-15T19:20:28.382" v="11"/>
        <pc:sldMkLst>
          <pc:docMk/>
          <pc:sldMk cId="1684426285" sldId="268"/>
        </pc:sldMkLst>
      </pc:sldChg>
      <pc:sldChg chg="modNotes">
        <pc:chgData name="Guedj, Stephanie D. (she/her/hers)" userId="S::stephanie.guedj@va.gov::2a1c514f-f0ad-44c0-a4bd-b62d586cb351" providerId="AD" clId="Web-{3107F623-2A34-4801-9992-60E97D7440E0}" dt="2024-10-15T19:20:56.445" v="17"/>
        <pc:sldMkLst>
          <pc:docMk/>
          <pc:sldMk cId="3099886817" sldId="270"/>
        </pc:sldMkLst>
      </pc:sldChg>
      <pc:sldChg chg="modNotes">
        <pc:chgData name="Guedj, Stephanie D. (she/her/hers)" userId="S::stephanie.guedj@va.gov::2a1c514f-f0ad-44c0-a4bd-b62d586cb351" providerId="AD" clId="Web-{3107F623-2A34-4801-9992-60E97D7440E0}" dt="2024-10-15T19:21:00.960" v="18"/>
        <pc:sldMkLst>
          <pc:docMk/>
          <pc:sldMk cId="3529800333" sldId="271"/>
        </pc:sldMkLst>
      </pc:sldChg>
      <pc:sldChg chg="modNotes">
        <pc:chgData name="Guedj, Stephanie D. (she/her/hers)" userId="S::stephanie.guedj@va.gov::2a1c514f-f0ad-44c0-a4bd-b62d586cb351" providerId="AD" clId="Web-{3107F623-2A34-4801-9992-60E97D7440E0}" dt="2024-10-15T19:21:04.273" v="19"/>
        <pc:sldMkLst>
          <pc:docMk/>
          <pc:sldMk cId="389760909" sldId="272"/>
        </pc:sldMkLst>
      </pc:sldChg>
      <pc:sldChg chg="modNotes">
        <pc:chgData name="Guedj, Stephanie D. (she/her/hers)" userId="S::stephanie.guedj@va.gov::2a1c514f-f0ad-44c0-a4bd-b62d586cb351" providerId="AD" clId="Web-{3107F623-2A34-4801-9992-60E97D7440E0}" dt="2024-10-15T19:21:18.414" v="23"/>
        <pc:sldMkLst>
          <pc:docMk/>
          <pc:sldMk cId="1474026278" sldId="293"/>
        </pc:sldMkLst>
      </pc:sldChg>
      <pc:sldChg chg="modNotes">
        <pc:chgData name="Guedj, Stephanie D. (she/her/hers)" userId="S::stephanie.guedj@va.gov::2a1c514f-f0ad-44c0-a4bd-b62d586cb351" providerId="AD" clId="Web-{3107F623-2A34-4801-9992-60E97D7440E0}" dt="2024-10-15T19:20:00.100" v="2"/>
        <pc:sldMkLst>
          <pc:docMk/>
          <pc:sldMk cId="3270213776" sldId="296"/>
        </pc:sldMkLst>
      </pc:sldChg>
      <pc:sldChg chg="modNotes">
        <pc:chgData name="Guedj, Stephanie D. (she/her/hers)" userId="S::stephanie.guedj@va.gov::2a1c514f-f0ad-44c0-a4bd-b62d586cb351" providerId="AD" clId="Web-{3107F623-2A34-4801-9992-60E97D7440E0}" dt="2024-10-15T19:21:07.851" v="20"/>
        <pc:sldMkLst>
          <pc:docMk/>
          <pc:sldMk cId="352600962" sldId="297"/>
        </pc:sldMkLst>
      </pc:sldChg>
      <pc:sldChg chg="modNotes">
        <pc:chgData name="Guedj, Stephanie D. (she/her/hers)" userId="S::stephanie.guedj@va.gov::2a1c514f-f0ad-44c0-a4bd-b62d586cb351" providerId="AD" clId="Web-{3107F623-2A34-4801-9992-60E97D7440E0}" dt="2024-10-15T19:20:43.304" v="14"/>
        <pc:sldMkLst>
          <pc:docMk/>
          <pc:sldMk cId="111468462" sldId="298"/>
        </pc:sldMkLst>
      </pc:sldChg>
      <pc:sldChg chg="mod modShow modNotes">
        <pc:chgData name="Guedj, Stephanie D. (she/her/hers)" userId="S::stephanie.guedj@va.gov::2a1c514f-f0ad-44c0-a4bd-b62d586cb351" providerId="AD" clId="Web-{3107F623-2A34-4801-9992-60E97D7440E0}" dt="2024-10-15T19:20:39.241" v="13"/>
        <pc:sldMkLst>
          <pc:docMk/>
          <pc:sldMk cId="561133639" sldId="299"/>
        </pc:sldMkLst>
      </pc:sldChg>
      <pc:sldChg chg="modNotes">
        <pc:chgData name="Guedj, Stephanie D. (she/her/hers)" userId="S::stephanie.guedj@va.gov::2a1c514f-f0ad-44c0-a4bd-b62d586cb351" providerId="AD" clId="Web-{3107F623-2A34-4801-9992-60E97D7440E0}" dt="2024-10-15T19:20:02.147" v="3"/>
        <pc:sldMkLst>
          <pc:docMk/>
          <pc:sldMk cId="397032392" sldId="300"/>
        </pc:sldMkLst>
      </pc:sldChg>
      <pc:sldChg chg="modNotes">
        <pc:chgData name="Guedj, Stephanie D. (she/her/hers)" userId="S::stephanie.guedj@va.gov::2a1c514f-f0ad-44c0-a4bd-b62d586cb351" providerId="AD" clId="Web-{3107F623-2A34-4801-9992-60E97D7440E0}" dt="2024-10-15T19:20:09.382" v="5"/>
        <pc:sldMkLst>
          <pc:docMk/>
          <pc:sldMk cId="1031976662" sldId="301"/>
        </pc:sldMkLst>
      </pc:sldChg>
      <pc:sldChg chg="modNotes">
        <pc:chgData name="Guedj, Stephanie D. (she/her/hers)" userId="S::stephanie.guedj@va.gov::2a1c514f-f0ad-44c0-a4bd-b62d586cb351" providerId="AD" clId="Web-{3107F623-2A34-4801-9992-60E97D7440E0}" dt="2024-10-15T19:20:11.632" v="6"/>
        <pc:sldMkLst>
          <pc:docMk/>
          <pc:sldMk cId="3064955071" sldId="302"/>
        </pc:sldMkLst>
      </pc:sldChg>
      <pc:sldChg chg="modNotes">
        <pc:chgData name="Guedj, Stephanie D. (she/her/hers)" userId="S::stephanie.guedj@va.gov::2a1c514f-f0ad-44c0-a4bd-b62d586cb351" providerId="AD" clId="Web-{3107F623-2A34-4801-9992-60E97D7440E0}" dt="2024-10-15T19:21:11.554" v="21"/>
        <pc:sldMkLst>
          <pc:docMk/>
          <pc:sldMk cId="491692405" sldId="1868"/>
        </pc:sldMkLst>
      </pc:sldChg>
      <pc:sldChg chg="modNotes">
        <pc:chgData name="Guedj, Stephanie D. (she/her/hers)" userId="S::stephanie.guedj@va.gov::2a1c514f-f0ad-44c0-a4bd-b62d586cb351" providerId="AD" clId="Web-{3107F623-2A34-4801-9992-60E97D7440E0}" dt="2024-10-15T19:20:06.179" v="4"/>
        <pc:sldMkLst>
          <pc:docMk/>
          <pc:sldMk cId="1259047418" sldId="1870"/>
        </pc:sldMkLst>
      </pc:sldChg>
      <pc:sldChg chg="modNotes">
        <pc:chgData name="Guedj, Stephanie D. (she/her/hers)" userId="S::stephanie.guedj@va.gov::2a1c514f-f0ad-44c0-a4bd-b62d586cb351" providerId="AD" clId="Web-{3107F623-2A34-4801-9992-60E97D7440E0}" dt="2024-10-15T19:21:14.976" v="22"/>
        <pc:sldMkLst>
          <pc:docMk/>
          <pc:sldMk cId="1844192534" sldId="1871"/>
        </pc:sldMkLst>
      </pc:sldChg>
    </pc:docChg>
  </pc:docChgLst>
  <pc:docChgLst>
    <pc:chgData name="Taylor, Prince (he/him/his)" userId="S::prince.taylor@va.gov::01ee1d6c-2e7c-4350-8df7-326785842210" providerId="AD" clId="Web-{32AEADDA-10C1-9889-A6DF-6ABD30D50290}"/>
    <pc:docChg chg="modSld">
      <pc:chgData name="Taylor, Prince (he/him/his)" userId="S::prince.taylor@va.gov::01ee1d6c-2e7c-4350-8df7-326785842210" providerId="AD" clId="Web-{32AEADDA-10C1-9889-A6DF-6ABD30D50290}" dt="2024-10-09T16:12:25.137" v="5" actId="20577"/>
      <pc:docMkLst>
        <pc:docMk/>
      </pc:docMkLst>
      <pc:sldChg chg="modSp">
        <pc:chgData name="Taylor, Prince (he/him/his)" userId="S::prince.taylor@va.gov::01ee1d6c-2e7c-4350-8df7-326785842210" providerId="AD" clId="Web-{32AEADDA-10C1-9889-A6DF-6ABD30D50290}" dt="2024-10-09T16:12:25.137" v="5" actId="20577"/>
        <pc:sldMkLst>
          <pc:docMk/>
          <pc:sldMk cId="3270213776" sldId="296"/>
        </pc:sldMkLst>
        <pc:spChg chg="mod">
          <ac:chgData name="Taylor, Prince (he/him/his)" userId="S::prince.taylor@va.gov::01ee1d6c-2e7c-4350-8df7-326785842210" providerId="AD" clId="Web-{32AEADDA-10C1-9889-A6DF-6ABD30D50290}" dt="2024-10-09T16:12:25.137" v="5" actId="20577"/>
          <ac:spMkLst>
            <pc:docMk/>
            <pc:sldMk cId="3270213776" sldId="296"/>
            <ac:spMk id="8" creationId="{611F39E0-3652-4FC2-A863-7DCC0CF4AC6E}"/>
          </ac:spMkLst>
        </pc:spChg>
      </pc:sldChg>
    </pc:docChg>
  </pc:docChgLst>
  <pc:docChgLst>
    <pc:chgData name="Guedj, Stephanie D. (she/her/hers)" userId="S::stephanie.guedj@va.gov::2a1c514f-f0ad-44c0-a4bd-b62d586cb351" providerId="AD" clId="Web-{11FFC1F6-1FCD-436F-8880-96EABD2F192D}"/>
    <pc:docChg chg="modSld">
      <pc:chgData name="Guedj, Stephanie D. (she/her/hers)" userId="S::stephanie.guedj@va.gov::2a1c514f-f0ad-44c0-a4bd-b62d586cb351" providerId="AD" clId="Web-{11FFC1F6-1FCD-436F-8880-96EABD2F192D}" dt="2024-10-09T19:44:29.150" v="1104"/>
      <pc:docMkLst>
        <pc:docMk/>
      </pc:docMkLst>
      <pc:sldChg chg="addSp delSp modSp modNotes">
        <pc:chgData name="Guedj, Stephanie D. (she/her/hers)" userId="S::stephanie.guedj@va.gov::2a1c514f-f0ad-44c0-a4bd-b62d586cb351" providerId="AD" clId="Web-{11FFC1F6-1FCD-436F-8880-96EABD2F192D}" dt="2024-10-09T19:44:29.150" v="1104"/>
        <pc:sldMkLst>
          <pc:docMk/>
          <pc:sldMk cId="3407364971" sldId="269"/>
        </pc:sldMkLst>
        <pc:spChg chg="add del mod">
          <ac:chgData name="Guedj, Stephanie D. (she/her/hers)" userId="S::stephanie.guedj@va.gov::2a1c514f-f0ad-44c0-a4bd-b62d586cb351" providerId="AD" clId="Web-{11FFC1F6-1FCD-436F-8880-96EABD2F192D}" dt="2024-10-09T19:31:53.468" v="1"/>
          <ac:spMkLst>
            <pc:docMk/>
            <pc:sldMk cId="3407364971" sldId="269"/>
            <ac:spMk id="5" creationId="{EEF9763C-EF57-8D81-A9A1-63B8DE25F27E}"/>
          </ac:spMkLst>
        </pc:spChg>
        <pc:spChg chg="add mod">
          <ac:chgData name="Guedj, Stephanie D. (she/her/hers)" userId="S::stephanie.guedj@va.gov::2a1c514f-f0ad-44c0-a4bd-b62d586cb351" providerId="AD" clId="Web-{11FFC1F6-1FCD-436F-8880-96EABD2F192D}" dt="2024-10-09T19:39:26.793" v="1036" actId="20577"/>
          <ac:spMkLst>
            <pc:docMk/>
            <pc:sldMk cId="3407364971" sldId="269"/>
            <ac:spMk id="7" creationId="{8E497AFF-031D-4874-1E27-E513F515DAC8}"/>
          </ac:spMkLst>
        </pc:spChg>
        <pc:graphicFrameChg chg="add mod ord modGraphic">
          <ac:chgData name="Guedj, Stephanie D. (she/her/hers)" userId="S::stephanie.guedj@va.gov::2a1c514f-f0ad-44c0-a4bd-b62d586cb351" providerId="AD" clId="Web-{11FFC1F6-1FCD-436F-8880-96EABD2F192D}" dt="2024-10-09T19:38:38.731" v="1025"/>
          <ac:graphicFrameMkLst>
            <pc:docMk/>
            <pc:sldMk cId="3407364971" sldId="269"/>
            <ac:graphicFrameMk id="6" creationId="{A3B83A32-3E38-9C78-5B4C-39F5CAA78BEB}"/>
          </ac:graphicFrameMkLst>
        </pc:graphicFrameChg>
        <pc:picChg chg="del">
          <ac:chgData name="Guedj, Stephanie D. (she/her/hers)" userId="S::stephanie.guedj@va.gov::2a1c514f-f0ad-44c0-a4bd-b62d586cb351" providerId="AD" clId="Web-{11FFC1F6-1FCD-436F-8880-96EABD2F192D}" dt="2024-10-09T19:31:43.483" v="0"/>
          <ac:picMkLst>
            <pc:docMk/>
            <pc:sldMk cId="3407364971" sldId="269"/>
            <ac:picMk id="1117" creationId="{7531B086-5FB9-3177-B291-CBC1F07E41CA}"/>
          </ac:picMkLst>
        </pc:picChg>
      </pc:sldChg>
    </pc:docChg>
  </pc:docChgLst>
  <pc:docChgLst>
    <pc:chgData name="Guedj, Stephanie D. (she/her/hers)" userId="S::stephanie.guedj@va.gov::2a1c514f-f0ad-44c0-a4bd-b62d586cb351" providerId="AD" clId="Web-{8B57441E-E992-493E-B823-BEEA3F617887}"/>
    <pc:docChg chg="modSld">
      <pc:chgData name="Guedj, Stephanie D. (she/her/hers)" userId="S::stephanie.guedj@va.gov::2a1c514f-f0ad-44c0-a4bd-b62d586cb351" providerId="AD" clId="Web-{8B57441E-E992-493E-B823-BEEA3F617887}" dt="2024-10-15T17:44:18.406" v="96"/>
      <pc:docMkLst>
        <pc:docMk/>
      </pc:docMkLst>
      <pc:sldChg chg="modNotes">
        <pc:chgData name="Guedj, Stephanie D. (she/her/hers)" userId="S::stephanie.guedj@va.gov::2a1c514f-f0ad-44c0-a4bd-b62d586cb351" providerId="AD" clId="Web-{8B57441E-E992-493E-B823-BEEA3F617887}" dt="2024-10-15T17:44:18.406" v="96"/>
        <pc:sldMkLst>
          <pc:docMk/>
          <pc:sldMk cId="2343311824" sldId="265"/>
        </pc:sldMkLst>
      </pc:sldChg>
      <pc:sldChg chg="modSp">
        <pc:chgData name="Guedj, Stephanie D. (she/her/hers)" userId="S::stephanie.guedj@va.gov::2a1c514f-f0ad-44c0-a4bd-b62d586cb351" providerId="AD" clId="Web-{8B57441E-E992-493E-B823-BEEA3F617887}" dt="2024-10-15T17:36:54.424" v="26" actId="20577"/>
        <pc:sldMkLst>
          <pc:docMk/>
          <pc:sldMk cId="2809186044" sldId="266"/>
        </pc:sldMkLst>
        <pc:spChg chg="mod">
          <ac:chgData name="Guedj, Stephanie D. (she/her/hers)" userId="S::stephanie.guedj@va.gov::2a1c514f-f0ad-44c0-a4bd-b62d586cb351" providerId="AD" clId="Web-{8B57441E-E992-493E-B823-BEEA3F617887}" dt="2024-10-15T17:36:54.424" v="26" actId="20577"/>
          <ac:spMkLst>
            <pc:docMk/>
            <pc:sldMk cId="2809186044" sldId="266"/>
            <ac:spMk id="6" creationId="{12168C8D-2F43-7598-73A2-0240E783BAF6}"/>
          </ac:spMkLst>
        </pc:spChg>
      </pc:sldChg>
      <pc:sldChg chg="modSp">
        <pc:chgData name="Guedj, Stephanie D. (she/her/hers)" userId="S::stephanie.guedj@va.gov::2a1c514f-f0ad-44c0-a4bd-b62d586cb351" providerId="AD" clId="Web-{8B57441E-E992-493E-B823-BEEA3F617887}" dt="2024-10-15T17:43:12.859" v="58" actId="20577"/>
        <pc:sldMkLst>
          <pc:docMk/>
          <pc:sldMk cId="397032392" sldId="300"/>
        </pc:sldMkLst>
        <pc:spChg chg="mod">
          <ac:chgData name="Guedj, Stephanie D. (she/her/hers)" userId="S::stephanie.guedj@va.gov::2a1c514f-f0ad-44c0-a4bd-b62d586cb351" providerId="AD" clId="Web-{8B57441E-E992-493E-B823-BEEA3F617887}" dt="2024-10-15T17:43:12.859" v="58" actId="20577"/>
          <ac:spMkLst>
            <pc:docMk/>
            <pc:sldMk cId="397032392" sldId="300"/>
            <ac:spMk id="4" creationId="{C465B68B-70BC-52C6-96AE-4AC9F03A7C4E}"/>
          </ac:spMkLst>
        </pc:spChg>
      </pc:sldChg>
      <pc:sldChg chg="modSp">
        <pc:chgData name="Guedj, Stephanie D. (she/her/hers)" userId="S::stephanie.guedj@va.gov::2a1c514f-f0ad-44c0-a4bd-b62d586cb351" providerId="AD" clId="Web-{8B57441E-E992-493E-B823-BEEA3F617887}" dt="2024-10-15T17:42:58.594" v="57" actId="20577"/>
        <pc:sldMkLst>
          <pc:docMk/>
          <pc:sldMk cId="1259047418" sldId="1870"/>
        </pc:sldMkLst>
        <pc:spChg chg="mod">
          <ac:chgData name="Guedj, Stephanie D. (she/her/hers)" userId="S::stephanie.guedj@va.gov::2a1c514f-f0ad-44c0-a4bd-b62d586cb351" providerId="AD" clId="Web-{8B57441E-E992-493E-B823-BEEA3F617887}" dt="2024-10-15T17:42:58.594" v="57" actId="20577"/>
          <ac:spMkLst>
            <pc:docMk/>
            <pc:sldMk cId="1259047418" sldId="1870"/>
            <ac:spMk id="8" creationId="{D8967BF7-AA86-9F81-EDEB-EB9FC7910F5C}"/>
          </ac:spMkLst>
        </pc:spChg>
      </pc:sldChg>
    </pc:docChg>
  </pc:docChgLst>
  <pc:docChgLst>
    <pc:chgData name="Guedj, Stephanie D. (she/her/hers)" userId="S::stephanie.guedj@va.gov::2a1c514f-f0ad-44c0-a4bd-b62d586cb351" providerId="AD" clId="Web-{9684A887-63DA-4388-9352-DAA8086E39BC}"/>
    <pc:docChg chg="modSld">
      <pc:chgData name="Guedj, Stephanie D. (she/her/hers)" userId="S::stephanie.guedj@va.gov::2a1c514f-f0ad-44c0-a4bd-b62d586cb351" providerId="AD" clId="Web-{9684A887-63DA-4388-9352-DAA8086E39BC}" dt="2024-10-10T11:59:45.504" v="446" actId="20577"/>
      <pc:docMkLst>
        <pc:docMk/>
      </pc:docMkLst>
      <pc:sldChg chg="modSp">
        <pc:chgData name="Guedj, Stephanie D. (she/her/hers)" userId="S::stephanie.guedj@va.gov::2a1c514f-f0ad-44c0-a4bd-b62d586cb351" providerId="AD" clId="Web-{9684A887-63DA-4388-9352-DAA8086E39BC}" dt="2024-10-10T11:54:04.489" v="411" actId="20577"/>
        <pc:sldMkLst>
          <pc:docMk/>
          <pc:sldMk cId="2809186044" sldId="266"/>
        </pc:sldMkLst>
        <pc:spChg chg="mod">
          <ac:chgData name="Guedj, Stephanie D. (she/her/hers)" userId="S::stephanie.guedj@va.gov::2a1c514f-f0ad-44c0-a4bd-b62d586cb351" providerId="AD" clId="Web-{9684A887-63DA-4388-9352-DAA8086E39BC}" dt="2024-10-10T11:54:04.489" v="411" actId="20577"/>
          <ac:spMkLst>
            <pc:docMk/>
            <pc:sldMk cId="2809186044" sldId="266"/>
            <ac:spMk id="6" creationId="{12168C8D-2F43-7598-73A2-0240E783BAF6}"/>
          </ac:spMkLst>
        </pc:spChg>
      </pc:sldChg>
      <pc:sldChg chg="modSp">
        <pc:chgData name="Guedj, Stephanie D. (she/her/hers)" userId="S::stephanie.guedj@va.gov::2a1c514f-f0ad-44c0-a4bd-b62d586cb351" providerId="AD" clId="Web-{9684A887-63DA-4388-9352-DAA8086E39BC}" dt="2024-10-10T11:50:02.515" v="309" actId="20577"/>
        <pc:sldMkLst>
          <pc:docMk/>
          <pc:sldMk cId="3407364971" sldId="269"/>
        </pc:sldMkLst>
        <pc:spChg chg="mod">
          <ac:chgData name="Guedj, Stephanie D. (she/her/hers)" userId="S::stephanie.guedj@va.gov::2a1c514f-f0ad-44c0-a4bd-b62d586cb351" providerId="AD" clId="Web-{9684A887-63DA-4388-9352-DAA8086E39BC}" dt="2024-10-10T11:49:45.921" v="272"/>
          <ac:spMkLst>
            <pc:docMk/>
            <pc:sldMk cId="3407364971" sldId="269"/>
            <ac:spMk id="4" creationId="{08D33560-49A6-9362-697B-B4C121E19899}"/>
          </ac:spMkLst>
        </pc:spChg>
        <pc:spChg chg="mod">
          <ac:chgData name="Guedj, Stephanie D. (she/her/hers)" userId="S::stephanie.guedj@va.gov::2a1c514f-f0ad-44c0-a4bd-b62d586cb351" providerId="AD" clId="Web-{9684A887-63DA-4388-9352-DAA8086E39BC}" dt="2024-10-10T11:50:02.515" v="309" actId="20577"/>
          <ac:spMkLst>
            <pc:docMk/>
            <pc:sldMk cId="3407364971" sldId="269"/>
            <ac:spMk id="7" creationId="{8E497AFF-031D-4874-1E27-E513F515DAC8}"/>
          </ac:spMkLst>
        </pc:spChg>
        <pc:graphicFrameChg chg="mod modGraphic">
          <ac:chgData name="Guedj, Stephanie D. (she/her/hers)" userId="S::stephanie.guedj@va.gov::2a1c514f-f0ad-44c0-a4bd-b62d586cb351" providerId="AD" clId="Web-{9684A887-63DA-4388-9352-DAA8086E39BC}" dt="2024-10-10T11:49:53.140" v="306"/>
          <ac:graphicFrameMkLst>
            <pc:docMk/>
            <pc:sldMk cId="3407364971" sldId="269"/>
            <ac:graphicFrameMk id="6" creationId="{A3B83A32-3E38-9C78-5B4C-39F5CAA78BEB}"/>
          </ac:graphicFrameMkLst>
        </pc:graphicFrameChg>
      </pc:sldChg>
      <pc:sldChg chg="addSp delSp modSp mod modClrScheme chgLayout">
        <pc:chgData name="Guedj, Stephanie D. (she/her/hers)" userId="S::stephanie.guedj@va.gov::2a1c514f-f0ad-44c0-a4bd-b62d586cb351" providerId="AD" clId="Web-{9684A887-63DA-4388-9352-DAA8086E39BC}" dt="2024-10-10T11:59:45.504" v="446" actId="20577"/>
        <pc:sldMkLst>
          <pc:docMk/>
          <pc:sldMk cId="111468462" sldId="298"/>
        </pc:sldMkLst>
        <pc:spChg chg="mod ord">
          <ac:chgData name="Guedj, Stephanie D. (she/her/hers)" userId="S::stephanie.guedj@va.gov::2a1c514f-f0ad-44c0-a4bd-b62d586cb351" providerId="AD" clId="Web-{9684A887-63DA-4388-9352-DAA8086E39BC}" dt="2024-10-10T11:59:45.504" v="446" actId="20577"/>
          <ac:spMkLst>
            <pc:docMk/>
            <pc:sldMk cId="111468462" sldId="298"/>
            <ac:spMk id="2" creationId="{D717D3A6-1E80-7D90-1926-C467ED681D85}"/>
          </ac:spMkLst>
        </pc:spChg>
        <pc:spChg chg="mod ord">
          <ac:chgData name="Guedj, Stephanie D. (she/her/hers)" userId="S::stephanie.guedj@va.gov::2a1c514f-f0ad-44c0-a4bd-b62d586cb351" providerId="AD" clId="Web-{9684A887-63DA-4388-9352-DAA8086E39BC}" dt="2024-10-10T11:57:29.395" v="416"/>
          <ac:spMkLst>
            <pc:docMk/>
            <pc:sldMk cId="111468462" sldId="298"/>
            <ac:spMk id="3" creationId="{55B3B43B-FBDC-7189-E012-1ED4888FAD97}"/>
          </ac:spMkLst>
        </pc:spChg>
        <pc:spChg chg="mod ord">
          <ac:chgData name="Guedj, Stephanie D. (she/her/hers)" userId="S::stephanie.guedj@va.gov::2a1c514f-f0ad-44c0-a4bd-b62d586cb351" providerId="AD" clId="Web-{9684A887-63DA-4388-9352-DAA8086E39BC}" dt="2024-10-10T11:57:29.395" v="416"/>
          <ac:spMkLst>
            <pc:docMk/>
            <pc:sldMk cId="111468462" sldId="298"/>
            <ac:spMk id="4" creationId="{8B8A026F-6AC6-A716-5223-E5792A613118}"/>
          </ac:spMkLst>
        </pc:spChg>
        <pc:spChg chg="add del mod ord">
          <ac:chgData name="Guedj, Stephanie D. (she/her/hers)" userId="S::stephanie.guedj@va.gov::2a1c514f-f0ad-44c0-a4bd-b62d586cb351" providerId="AD" clId="Web-{9684A887-63DA-4388-9352-DAA8086E39BC}" dt="2024-10-10T11:57:22.332" v="415"/>
          <ac:spMkLst>
            <pc:docMk/>
            <pc:sldMk cId="111468462" sldId="298"/>
            <ac:spMk id="5" creationId="{679EEFEA-C64E-5788-DCA9-B49E79394FB2}"/>
          </ac:spMkLst>
        </pc:spChg>
        <pc:picChg chg="add mod">
          <ac:chgData name="Guedj, Stephanie D. (she/her/hers)" userId="S::stephanie.guedj@va.gov::2a1c514f-f0ad-44c0-a4bd-b62d586cb351" providerId="AD" clId="Web-{9684A887-63DA-4388-9352-DAA8086E39BC}" dt="2024-10-10T11:58:19.442" v="423" actId="1076"/>
          <ac:picMkLst>
            <pc:docMk/>
            <pc:sldMk cId="111468462" sldId="298"/>
            <ac:picMk id="6" creationId="{89711EE6-8F04-C5E3-C059-6F3E2E8CAAF0}"/>
          </ac:picMkLst>
        </pc:picChg>
      </pc:sldChg>
      <pc:sldChg chg="addSp delSp modSp mod modClrScheme chgLayout">
        <pc:chgData name="Guedj, Stephanie D. (she/her/hers)" userId="S::stephanie.guedj@va.gov::2a1c514f-f0ad-44c0-a4bd-b62d586cb351" providerId="AD" clId="Web-{9684A887-63DA-4388-9352-DAA8086E39BC}" dt="2024-10-10T11:53:22.724" v="408"/>
        <pc:sldMkLst>
          <pc:docMk/>
          <pc:sldMk cId="561133639" sldId="299"/>
        </pc:sldMkLst>
        <pc:spChg chg="mod ord">
          <ac:chgData name="Guedj, Stephanie D. (she/her/hers)" userId="S::stephanie.guedj@va.gov::2a1c514f-f0ad-44c0-a4bd-b62d586cb351" providerId="AD" clId="Web-{9684A887-63DA-4388-9352-DAA8086E39BC}" dt="2024-10-10T11:52:31.505" v="407" actId="20577"/>
          <ac:spMkLst>
            <pc:docMk/>
            <pc:sldMk cId="561133639" sldId="299"/>
            <ac:spMk id="2" creationId="{BAEEF4AA-1885-F6CD-1D71-1E82E7C5DA97}"/>
          </ac:spMkLst>
        </pc:spChg>
        <pc:spChg chg="mod ord">
          <ac:chgData name="Guedj, Stephanie D. (she/her/hers)" userId="S::stephanie.guedj@va.gov::2a1c514f-f0ad-44c0-a4bd-b62d586cb351" providerId="AD" clId="Web-{9684A887-63DA-4388-9352-DAA8086E39BC}" dt="2024-10-10T11:45:36.547" v="0"/>
          <ac:spMkLst>
            <pc:docMk/>
            <pc:sldMk cId="561133639" sldId="299"/>
            <ac:spMk id="3" creationId="{972189E6-5969-94AF-C34B-0AA58644AE1A}"/>
          </ac:spMkLst>
        </pc:spChg>
        <pc:spChg chg="mod ord">
          <ac:chgData name="Guedj, Stephanie D. (she/her/hers)" userId="S::stephanie.guedj@va.gov::2a1c514f-f0ad-44c0-a4bd-b62d586cb351" providerId="AD" clId="Web-{9684A887-63DA-4388-9352-DAA8086E39BC}" dt="2024-10-10T11:48:22.468" v="217" actId="1076"/>
          <ac:spMkLst>
            <pc:docMk/>
            <pc:sldMk cId="561133639" sldId="299"/>
            <ac:spMk id="4" creationId="{048FCFEB-2455-688E-8975-0C4167514666}"/>
          </ac:spMkLst>
        </pc:spChg>
        <pc:spChg chg="add del mod ord">
          <ac:chgData name="Guedj, Stephanie D. (she/her/hers)" userId="S::stephanie.guedj@va.gov::2a1c514f-f0ad-44c0-a4bd-b62d586cb351" providerId="AD" clId="Web-{9684A887-63DA-4388-9352-DAA8086E39BC}" dt="2024-10-10T11:47:27.734" v="1"/>
          <ac:spMkLst>
            <pc:docMk/>
            <pc:sldMk cId="561133639" sldId="299"/>
            <ac:spMk id="5" creationId="{11FAED04-7259-25F7-BD01-86153A9D0317}"/>
          </ac:spMkLst>
        </pc:spChg>
        <pc:spChg chg="add del mod ord">
          <ac:chgData name="Guedj, Stephanie D. (she/her/hers)" userId="S::stephanie.guedj@va.gov::2a1c514f-f0ad-44c0-a4bd-b62d586cb351" providerId="AD" clId="Web-{9684A887-63DA-4388-9352-DAA8086E39BC}" dt="2024-10-10T11:53:22.724" v="408"/>
          <ac:spMkLst>
            <pc:docMk/>
            <pc:sldMk cId="561133639" sldId="299"/>
            <ac:spMk id="6" creationId="{28880455-6F76-D620-0706-A258DC7AF3F1}"/>
          </ac:spMkLst>
        </pc:spChg>
        <pc:graphicFrameChg chg="add mod ord modGraphic">
          <ac:chgData name="Guedj, Stephanie D. (she/her/hers)" userId="S::stephanie.guedj@va.gov::2a1c514f-f0ad-44c0-a4bd-b62d586cb351" providerId="AD" clId="Web-{9684A887-63DA-4388-9352-DAA8086E39BC}" dt="2024-10-10T11:51:56.405" v="402"/>
          <ac:graphicFrameMkLst>
            <pc:docMk/>
            <pc:sldMk cId="561133639" sldId="299"/>
            <ac:graphicFrameMk id="7" creationId="{AFFAECFD-9C7F-93C9-83C0-DB4DE2A6D9A6}"/>
          </ac:graphicFrameMkLst>
        </pc:graphicFrameChg>
      </pc:sldChg>
    </pc:docChg>
  </pc:docChgLst>
  <pc:docChgLst>
    <pc:chgData name="Taylor, Prince (he/him/his)" userId="01ee1d6c-2e7c-4350-8df7-326785842210" providerId="ADAL" clId="{86CD1517-B0E6-4F25-A10B-28360DF44B12}"/>
    <pc:docChg chg="undo custSel addSld modSld sldOrd">
      <pc:chgData name="Taylor, Prince (he/him/his)" userId="01ee1d6c-2e7c-4350-8df7-326785842210" providerId="ADAL" clId="{86CD1517-B0E6-4F25-A10B-28360DF44B12}" dt="2024-10-15T17:29:59.955" v="3388" actId="255"/>
      <pc:docMkLst>
        <pc:docMk/>
      </pc:docMkLst>
      <pc:sldChg chg="ord">
        <pc:chgData name="Taylor, Prince (he/him/his)" userId="01ee1d6c-2e7c-4350-8df7-326785842210" providerId="ADAL" clId="{86CD1517-B0E6-4F25-A10B-28360DF44B12}" dt="2024-10-15T16:08:53.210" v="700"/>
        <pc:sldMkLst>
          <pc:docMk/>
          <pc:sldMk cId="2809186044" sldId="266"/>
        </pc:sldMkLst>
      </pc:sldChg>
      <pc:sldChg chg="ord">
        <pc:chgData name="Taylor, Prince (he/him/his)" userId="01ee1d6c-2e7c-4350-8df7-326785842210" providerId="ADAL" clId="{86CD1517-B0E6-4F25-A10B-28360DF44B12}" dt="2024-10-15T16:08:44.587" v="698"/>
        <pc:sldMkLst>
          <pc:docMk/>
          <pc:sldMk cId="3270213776" sldId="296"/>
        </pc:sldMkLst>
      </pc:sldChg>
      <pc:sldChg chg="modSp mod">
        <pc:chgData name="Taylor, Prince (he/him/his)" userId="01ee1d6c-2e7c-4350-8df7-326785842210" providerId="ADAL" clId="{86CD1517-B0E6-4F25-A10B-28360DF44B12}" dt="2024-10-15T16:10:00.967" v="701" actId="14100"/>
        <pc:sldMkLst>
          <pc:docMk/>
          <pc:sldMk cId="111468462" sldId="298"/>
        </pc:sldMkLst>
        <pc:picChg chg="mod">
          <ac:chgData name="Taylor, Prince (he/him/his)" userId="01ee1d6c-2e7c-4350-8df7-326785842210" providerId="ADAL" clId="{86CD1517-B0E6-4F25-A10B-28360DF44B12}" dt="2024-10-15T16:10:00.967" v="701" actId="14100"/>
          <ac:picMkLst>
            <pc:docMk/>
            <pc:sldMk cId="111468462" sldId="298"/>
            <ac:picMk id="6" creationId="{89711EE6-8F04-C5E3-C059-6F3E2E8CAAF0}"/>
          </ac:picMkLst>
        </pc:picChg>
      </pc:sldChg>
      <pc:sldChg chg="modSp mod">
        <pc:chgData name="Taylor, Prince (he/him/his)" userId="01ee1d6c-2e7c-4350-8df7-326785842210" providerId="ADAL" clId="{86CD1517-B0E6-4F25-A10B-28360DF44B12}" dt="2024-10-15T16:20:51.076" v="703" actId="21"/>
        <pc:sldMkLst>
          <pc:docMk/>
          <pc:sldMk cId="561133639" sldId="299"/>
        </pc:sldMkLst>
        <pc:spChg chg="mod">
          <ac:chgData name="Taylor, Prince (he/him/his)" userId="01ee1d6c-2e7c-4350-8df7-326785842210" providerId="ADAL" clId="{86CD1517-B0E6-4F25-A10B-28360DF44B12}" dt="2024-10-15T16:20:51.076" v="703" actId="21"/>
          <ac:spMkLst>
            <pc:docMk/>
            <pc:sldMk cId="561133639" sldId="299"/>
            <ac:spMk id="2" creationId="{BAEEF4AA-1885-F6CD-1D71-1E82E7C5DA97}"/>
          </ac:spMkLst>
        </pc:spChg>
      </pc:sldChg>
      <pc:sldChg chg="modSp mod modNotesTx">
        <pc:chgData name="Taylor, Prince (he/him/his)" userId="01ee1d6c-2e7c-4350-8df7-326785842210" providerId="ADAL" clId="{86CD1517-B0E6-4F25-A10B-28360DF44B12}" dt="2024-10-15T16:53:11.954" v="718" actId="255"/>
        <pc:sldMkLst>
          <pc:docMk/>
          <pc:sldMk cId="397032392" sldId="300"/>
        </pc:sldMkLst>
        <pc:spChg chg="mod">
          <ac:chgData name="Taylor, Prince (he/him/his)" userId="01ee1d6c-2e7c-4350-8df7-326785842210" providerId="ADAL" clId="{86CD1517-B0E6-4F25-A10B-28360DF44B12}" dt="2024-10-15T15:51:52.550" v="4" actId="255"/>
          <ac:spMkLst>
            <pc:docMk/>
            <pc:sldMk cId="397032392" sldId="300"/>
            <ac:spMk id="2" creationId="{4F7B3EA3-38D3-9776-EA38-55B5597E74F3}"/>
          </ac:spMkLst>
        </pc:spChg>
        <pc:spChg chg="mod">
          <ac:chgData name="Taylor, Prince (he/him/his)" userId="01ee1d6c-2e7c-4350-8df7-326785842210" providerId="ADAL" clId="{86CD1517-B0E6-4F25-A10B-28360DF44B12}" dt="2024-10-15T16:53:11.954" v="718" actId="255"/>
          <ac:spMkLst>
            <pc:docMk/>
            <pc:sldMk cId="397032392" sldId="300"/>
            <ac:spMk id="4" creationId="{C465B68B-70BC-52C6-96AE-4AC9F03A7C4E}"/>
          </ac:spMkLst>
        </pc:spChg>
        <pc:picChg chg="mod">
          <ac:chgData name="Taylor, Prince (he/him/his)" userId="01ee1d6c-2e7c-4350-8df7-326785842210" providerId="ADAL" clId="{86CD1517-B0E6-4F25-A10B-28360DF44B12}" dt="2024-10-15T15:51:20.440" v="2" actId="1076"/>
          <ac:picMkLst>
            <pc:docMk/>
            <pc:sldMk cId="397032392" sldId="300"/>
            <ac:picMk id="5" creationId="{A2CB14E9-1A99-DA5B-74D8-6CE458C62BB3}"/>
          </ac:picMkLst>
        </pc:picChg>
      </pc:sldChg>
      <pc:sldChg chg="modSp mod modNotesTx">
        <pc:chgData name="Taylor, Prince (he/him/his)" userId="01ee1d6c-2e7c-4350-8df7-326785842210" providerId="ADAL" clId="{86CD1517-B0E6-4F25-A10B-28360DF44B12}" dt="2024-10-15T17:24:20.047" v="2909" actId="20577"/>
        <pc:sldMkLst>
          <pc:docMk/>
          <pc:sldMk cId="1031976662" sldId="301"/>
        </pc:sldMkLst>
        <pc:spChg chg="mod">
          <ac:chgData name="Taylor, Prince (he/him/his)" userId="01ee1d6c-2e7c-4350-8df7-326785842210" providerId="ADAL" clId="{86CD1517-B0E6-4F25-A10B-28360DF44B12}" dt="2024-10-15T16:04:15.477" v="648" actId="20577"/>
          <ac:spMkLst>
            <pc:docMk/>
            <pc:sldMk cId="1031976662" sldId="301"/>
            <ac:spMk id="4" creationId="{C465B68B-70BC-52C6-96AE-4AC9F03A7C4E}"/>
          </ac:spMkLst>
        </pc:spChg>
        <pc:spChg chg="mod">
          <ac:chgData name="Taylor, Prince (he/him/his)" userId="01ee1d6c-2e7c-4350-8df7-326785842210" providerId="ADAL" clId="{86CD1517-B0E6-4F25-A10B-28360DF44B12}" dt="2024-10-15T16:06:51.650" v="692" actId="20577"/>
          <ac:spMkLst>
            <pc:docMk/>
            <pc:sldMk cId="1031976662" sldId="301"/>
            <ac:spMk id="5" creationId="{AA4A1AB8-D015-0235-294A-A4B7AB9D2CCC}"/>
          </ac:spMkLst>
        </pc:spChg>
        <pc:picChg chg="mod">
          <ac:chgData name="Taylor, Prince (he/him/his)" userId="01ee1d6c-2e7c-4350-8df7-326785842210" providerId="ADAL" clId="{86CD1517-B0E6-4F25-A10B-28360DF44B12}" dt="2024-10-15T17:22:32.706" v="2625" actId="1076"/>
          <ac:picMkLst>
            <pc:docMk/>
            <pc:sldMk cId="1031976662" sldId="301"/>
            <ac:picMk id="2" creationId="{37971C94-2795-3A49-8CA7-F2F7E389C35C}"/>
          </ac:picMkLst>
        </pc:picChg>
        <pc:picChg chg="mod">
          <ac:chgData name="Taylor, Prince (he/him/his)" userId="01ee1d6c-2e7c-4350-8df7-326785842210" providerId="ADAL" clId="{86CD1517-B0E6-4F25-A10B-28360DF44B12}" dt="2024-10-15T16:06:55.078" v="693" actId="1076"/>
          <ac:picMkLst>
            <pc:docMk/>
            <pc:sldMk cId="1031976662" sldId="301"/>
            <ac:picMk id="7" creationId="{FF1EA0FD-6808-60FB-842F-9364D223EE05}"/>
          </ac:picMkLst>
        </pc:picChg>
      </pc:sldChg>
      <pc:sldChg chg="modSp add mod modTransition modNotesTx">
        <pc:chgData name="Taylor, Prince (he/him/his)" userId="01ee1d6c-2e7c-4350-8df7-326785842210" providerId="ADAL" clId="{86CD1517-B0E6-4F25-A10B-28360DF44B12}" dt="2024-10-15T17:29:59.955" v="3388" actId="255"/>
        <pc:sldMkLst>
          <pc:docMk/>
          <pc:sldMk cId="3064955071" sldId="302"/>
        </pc:sldMkLst>
        <pc:spChg chg="mod">
          <ac:chgData name="Taylor, Prince (he/him/his)" userId="01ee1d6c-2e7c-4350-8df7-326785842210" providerId="ADAL" clId="{86CD1517-B0E6-4F25-A10B-28360DF44B12}" dt="2024-10-15T17:29:59.955" v="3388" actId="255"/>
          <ac:spMkLst>
            <pc:docMk/>
            <pc:sldMk cId="3064955071" sldId="302"/>
            <ac:spMk id="5" creationId="{AA4A1AB8-D015-0235-294A-A4B7AB9D2CCC}"/>
          </ac:spMkLst>
        </pc:spChg>
      </pc:sldChg>
      <pc:sldChg chg="modSp mod">
        <pc:chgData name="Taylor, Prince (he/him/his)" userId="01ee1d6c-2e7c-4350-8df7-326785842210" providerId="ADAL" clId="{86CD1517-B0E6-4F25-A10B-28360DF44B12}" dt="2024-10-15T16:39:46.913" v="713" actId="14100"/>
        <pc:sldMkLst>
          <pc:docMk/>
          <pc:sldMk cId="491692405" sldId="1868"/>
        </pc:sldMkLst>
        <pc:picChg chg="mod modCrop">
          <ac:chgData name="Taylor, Prince (he/him/his)" userId="01ee1d6c-2e7c-4350-8df7-326785842210" providerId="ADAL" clId="{86CD1517-B0E6-4F25-A10B-28360DF44B12}" dt="2024-10-15T16:39:46.913" v="713" actId="14100"/>
          <ac:picMkLst>
            <pc:docMk/>
            <pc:sldMk cId="491692405" sldId="1868"/>
            <ac:picMk id="10" creationId="{596B98F9-C9FB-4F1F-A99A-F9AE1E2DC043}"/>
          </ac:picMkLst>
        </pc:picChg>
      </pc:sldChg>
      <pc:sldChg chg="modSp mod">
        <pc:chgData name="Taylor, Prince (he/him/his)" userId="01ee1d6c-2e7c-4350-8df7-326785842210" providerId="ADAL" clId="{86CD1517-B0E6-4F25-A10B-28360DF44B12}" dt="2024-10-15T16:36:06.570" v="709" actId="1076"/>
        <pc:sldMkLst>
          <pc:docMk/>
          <pc:sldMk cId="3377598115" sldId="1869"/>
        </pc:sldMkLst>
        <pc:spChg chg="mod">
          <ac:chgData name="Taylor, Prince (he/him/his)" userId="01ee1d6c-2e7c-4350-8df7-326785842210" providerId="ADAL" clId="{86CD1517-B0E6-4F25-A10B-28360DF44B12}" dt="2024-10-15T16:35:49.049" v="708" actId="255"/>
          <ac:spMkLst>
            <pc:docMk/>
            <pc:sldMk cId="3377598115" sldId="1869"/>
            <ac:spMk id="3" creationId="{D6E8C12A-D9BD-474F-AC55-B3EDF24DC27F}"/>
          </ac:spMkLst>
        </pc:spChg>
        <pc:spChg chg="mod">
          <ac:chgData name="Taylor, Prince (he/him/his)" userId="01ee1d6c-2e7c-4350-8df7-326785842210" providerId="ADAL" clId="{86CD1517-B0E6-4F25-A10B-28360DF44B12}" dt="2024-10-15T16:35:13.916" v="705" actId="14100"/>
          <ac:spMkLst>
            <pc:docMk/>
            <pc:sldMk cId="3377598115" sldId="1869"/>
            <ac:spMk id="4" creationId="{D9182383-3F4A-1264-7733-8F04B1A5ADBF}"/>
          </ac:spMkLst>
        </pc:spChg>
        <pc:picChg chg="mod">
          <ac:chgData name="Taylor, Prince (he/him/his)" userId="01ee1d6c-2e7c-4350-8df7-326785842210" providerId="ADAL" clId="{86CD1517-B0E6-4F25-A10B-28360DF44B12}" dt="2024-10-15T16:36:06.570" v="709" actId="1076"/>
          <ac:picMkLst>
            <pc:docMk/>
            <pc:sldMk cId="3377598115" sldId="1869"/>
            <ac:picMk id="5" creationId="{39B7FB41-A3EA-4347-9C73-3322737110CC}"/>
          </ac:picMkLst>
        </pc:picChg>
      </pc:sldChg>
      <pc:sldChg chg="addSp delSp modSp add mod modNotesTx">
        <pc:chgData name="Taylor, Prince (he/him/his)" userId="01ee1d6c-2e7c-4350-8df7-326785842210" providerId="ADAL" clId="{86CD1517-B0E6-4F25-A10B-28360DF44B12}" dt="2024-10-15T17:22:06.378" v="2621" actId="20577"/>
        <pc:sldMkLst>
          <pc:docMk/>
          <pc:sldMk cId="1259047418" sldId="1870"/>
        </pc:sldMkLst>
        <pc:spChg chg="del">
          <ac:chgData name="Taylor, Prince (he/him/his)" userId="01ee1d6c-2e7c-4350-8df7-326785842210" providerId="ADAL" clId="{86CD1517-B0E6-4F25-A10B-28360DF44B12}" dt="2024-10-15T16:53:36.325" v="719" actId="478"/>
          <ac:spMkLst>
            <pc:docMk/>
            <pc:sldMk cId="1259047418" sldId="1870"/>
            <ac:spMk id="2" creationId="{4F7B3EA3-38D3-9776-EA38-55B5597E74F3}"/>
          </ac:spMkLst>
        </pc:spChg>
        <pc:spChg chg="add del mod">
          <ac:chgData name="Taylor, Prince (he/him/his)" userId="01ee1d6c-2e7c-4350-8df7-326785842210" providerId="ADAL" clId="{86CD1517-B0E6-4F25-A10B-28360DF44B12}" dt="2024-10-15T16:53:42.720" v="720" actId="478"/>
          <ac:spMkLst>
            <pc:docMk/>
            <pc:sldMk cId="1259047418" sldId="1870"/>
            <ac:spMk id="7" creationId="{D66E0016-78E5-E211-0CCB-244252DBF263}"/>
          </ac:spMkLst>
        </pc:spChg>
        <pc:spChg chg="add mod">
          <ac:chgData name="Taylor, Prince (he/him/his)" userId="01ee1d6c-2e7c-4350-8df7-326785842210" providerId="ADAL" clId="{86CD1517-B0E6-4F25-A10B-28360DF44B12}" dt="2024-10-15T16:59:33.215" v="798" actId="255"/>
          <ac:spMkLst>
            <pc:docMk/>
            <pc:sldMk cId="1259047418" sldId="1870"/>
            <ac:spMk id="8" creationId="{D8967BF7-AA86-9F81-EDEB-EB9FC7910F5C}"/>
          </ac:spMkLst>
        </pc:spChg>
        <pc:picChg chg="mod">
          <ac:chgData name="Taylor, Prince (he/him/his)" userId="01ee1d6c-2e7c-4350-8df7-326785842210" providerId="ADAL" clId="{86CD1517-B0E6-4F25-A10B-28360DF44B12}" dt="2024-10-15T17:19:05.224" v="2399" actId="1076"/>
          <ac:picMkLst>
            <pc:docMk/>
            <pc:sldMk cId="1259047418" sldId="1870"/>
            <ac:picMk id="5" creationId="{A2CB14E9-1A99-DA5B-74D8-6CE458C62BB3}"/>
          </ac:picMkLst>
        </pc:picChg>
      </pc:sldChg>
    </pc:docChg>
  </pc:docChgLst>
  <pc:docChgLst>
    <pc:chgData name="Guedj, Stephanie D. (she/her/hers)" userId="S::stephanie.guedj@va.gov::2a1c514f-f0ad-44c0-a4bd-b62d586cb351" providerId="AD" clId="Web-{F0A42DFB-B7DF-435D-874D-0E6701449FA1}"/>
    <pc:docChg chg="modSld">
      <pc:chgData name="Guedj, Stephanie D. (she/her/hers)" userId="S::stephanie.guedj@va.gov::2a1c514f-f0ad-44c0-a4bd-b62d586cb351" providerId="AD" clId="Web-{F0A42DFB-B7DF-435D-874D-0E6701449FA1}" dt="2024-10-09T19:07:52.797" v="7"/>
      <pc:docMkLst>
        <pc:docMk/>
      </pc:docMkLst>
      <pc:sldChg chg="modSp modNotes">
        <pc:chgData name="Guedj, Stephanie D. (she/her/hers)" userId="S::stephanie.guedj@va.gov::2a1c514f-f0ad-44c0-a4bd-b62d586cb351" providerId="AD" clId="Web-{F0A42DFB-B7DF-435D-874D-0E6701449FA1}" dt="2024-10-09T19:07:52.797" v="7"/>
        <pc:sldMkLst>
          <pc:docMk/>
          <pc:sldMk cId="352600962" sldId="297"/>
        </pc:sldMkLst>
        <pc:spChg chg="mod">
          <ac:chgData name="Guedj, Stephanie D. (she/her/hers)" userId="S::stephanie.guedj@va.gov::2a1c514f-f0ad-44c0-a4bd-b62d586cb351" providerId="AD" clId="Web-{F0A42DFB-B7DF-435D-874D-0E6701449FA1}" dt="2024-10-09T19:07:44.860" v="4" actId="20577"/>
          <ac:spMkLst>
            <pc:docMk/>
            <pc:sldMk cId="352600962" sldId="297"/>
            <ac:spMk id="2" creationId="{A75E7B6B-B01D-F9F2-BDF6-5FD3C6A27870}"/>
          </ac:spMkLst>
        </pc:spChg>
      </pc:sldChg>
    </pc:docChg>
  </pc:docChgLst>
  <pc:docChgLst>
    <pc:chgData name="Guedj, Stephanie D. (she/her/hers)" userId="S::stephanie.guedj@va.gov::2a1c514f-f0ad-44c0-a4bd-b62d586cb351" providerId="AD" clId="Web-{F618FFEF-5760-4706-B742-12F65AE282FE}"/>
    <pc:docChg chg="modSld">
      <pc:chgData name="Guedj, Stephanie D. (she/her/hers)" userId="S::stephanie.guedj@va.gov::2a1c514f-f0ad-44c0-a4bd-b62d586cb351" providerId="AD" clId="Web-{F618FFEF-5760-4706-B742-12F65AE282FE}" dt="2024-10-11T12:57:31.459" v="55"/>
      <pc:docMkLst>
        <pc:docMk/>
      </pc:docMkLst>
      <pc:sldChg chg="modNotes">
        <pc:chgData name="Guedj, Stephanie D. (she/her/hers)" userId="S::stephanie.guedj@va.gov::2a1c514f-f0ad-44c0-a4bd-b62d586cb351" providerId="AD" clId="Web-{F618FFEF-5760-4706-B742-12F65AE282FE}" dt="2024-10-11T12:57:31.459" v="55"/>
        <pc:sldMkLst>
          <pc:docMk/>
          <pc:sldMk cId="397032392" sldId="300"/>
        </pc:sldMkLst>
      </pc:sldChg>
    </pc:docChg>
  </pc:docChgLst>
  <pc:docChgLst>
    <pc:chgData name="Guedj, Stephanie D. (she/her/hers)" userId="S::stephanie.guedj@va.gov::2a1c514f-f0ad-44c0-a4bd-b62d586cb351" providerId="AD" clId="Web-{E25D9F1B-0197-4565-B1F7-748CF9ABD7EC}"/>
    <pc:docChg chg="modSld">
      <pc:chgData name="Guedj, Stephanie D. (she/her/hers)" userId="S::stephanie.guedj@va.gov::2a1c514f-f0ad-44c0-a4bd-b62d586cb351" providerId="AD" clId="Web-{E25D9F1B-0197-4565-B1F7-748CF9ABD7EC}" dt="2024-10-09T16:39:25.046" v="4"/>
      <pc:docMkLst>
        <pc:docMk/>
      </pc:docMkLst>
      <pc:sldChg chg="modNotes">
        <pc:chgData name="Guedj, Stephanie D. (she/her/hers)" userId="S::stephanie.guedj@va.gov::2a1c514f-f0ad-44c0-a4bd-b62d586cb351" providerId="AD" clId="Web-{E25D9F1B-0197-4565-B1F7-748CF9ABD7EC}" dt="2024-10-09T16:39:25.046" v="4"/>
        <pc:sldMkLst>
          <pc:docMk/>
          <pc:sldMk cId="1684426285" sldId="268"/>
        </pc:sldMkLst>
      </pc:sldChg>
      <pc:sldChg chg="modNotes">
        <pc:chgData name="Guedj, Stephanie D. (she/her/hers)" userId="S::stephanie.guedj@va.gov::2a1c514f-f0ad-44c0-a4bd-b62d586cb351" providerId="AD" clId="Web-{E25D9F1B-0197-4565-B1F7-748CF9ABD7EC}" dt="2024-10-09T16:39:18.639" v="2"/>
        <pc:sldMkLst>
          <pc:docMk/>
          <pc:sldMk cId="3270213776" sldId="296"/>
        </pc:sldMkLst>
      </pc:sldChg>
    </pc:docChg>
  </pc:docChgLst>
  <pc:docChgLst>
    <pc:chgData name="Guedj, Stephanie D. (she/her/hers)" userId="S::stephanie.guedj@va.gov::2a1c514f-f0ad-44c0-a4bd-b62d586cb351" providerId="AD" clId="Web-{D5FBEA33-6F36-48C7-92EF-1E23C87A5123}"/>
    <pc:docChg chg="modSld">
      <pc:chgData name="Guedj, Stephanie D. (she/her/hers)" userId="S::stephanie.guedj@va.gov::2a1c514f-f0ad-44c0-a4bd-b62d586cb351" providerId="AD" clId="Web-{D5FBEA33-6F36-48C7-92EF-1E23C87A5123}" dt="2024-10-15T16:32:33.983" v="1"/>
      <pc:docMkLst>
        <pc:docMk/>
      </pc:docMkLst>
      <pc:sldChg chg="delSp modSp mod modClrScheme delDesignElem chgLayout">
        <pc:chgData name="Guedj, Stephanie D. (she/her/hers)" userId="S::stephanie.guedj@va.gov::2a1c514f-f0ad-44c0-a4bd-b62d586cb351" providerId="AD" clId="Web-{D5FBEA33-6F36-48C7-92EF-1E23C87A5123}" dt="2024-10-15T16:32:13.983" v="0"/>
        <pc:sldMkLst>
          <pc:docMk/>
          <pc:sldMk cId="491692405" sldId="1868"/>
        </pc:sldMkLst>
        <pc:spChg chg="mod ord">
          <ac:chgData name="Guedj, Stephanie D. (she/her/hers)" userId="S::stephanie.guedj@va.gov::2a1c514f-f0ad-44c0-a4bd-b62d586cb351" providerId="AD" clId="Web-{D5FBEA33-6F36-48C7-92EF-1E23C87A5123}" dt="2024-10-15T16:32:13.983" v="0"/>
          <ac:spMkLst>
            <pc:docMk/>
            <pc:sldMk cId="491692405" sldId="1868"/>
            <ac:spMk id="5" creationId="{EA35BF4C-D70A-41D3-8778-F9548165CD55}"/>
          </ac:spMkLst>
        </pc:spChg>
        <pc:spChg chg="del">
          <ac:chgData name="Guedj, Stephanie D. (she/her/hers)" userId="S::stephanie.guedj@va.gov::2a1c514f-f0ad-44c0-a4bd-b62d586cb351" providerId="AD" clId="Web-{D5FBEA33-6F36-48C7-92EF-1E23C87A5123}" dt="2024-10-15T16:32:13.983" v="0"/>
          <ac:spMkLst>
            <pc:docMk/>
            <pc:sldMk cId="491692405" sldId="1868"/>
            <ac:spMk id="39" creationId="{D55CD764-972B-4CA5-A885-53E55C63E174}"/>
          </ac:spMkLst>
        </pc:spChg>
        <pc:spChg chg="del">
          <ac:chgData name="Guedj, Stephanie D. (she/her/hers)" userId="S::stephanie.guedj@va.gov::2a1c514f-f0ad-44c0-a4bd-b62d586cb351" providerId="AD" clId="Web-{D5FBEA33-6F36-48C7-92EF-1E23C87A5123}" dt="2024-10-15T16:32:13.983" v="0"/>
          <ac:spMkLst>
            <pc:docMk/>
            <pc:sldMk cId="491692405" sldId="1868"/>
            <ac:spMk id="63" creationId="{34165AB3-7006-4430-BCE3-25476BE13322}"/>
          </ac:spMkLst>
        </pc:spChg>
        <pc:spChg chg="del">
          <ac:chgData name="Guedj, Stephanie D. (she/her/hers)" userId="S::stephanie.guedj@va.gov::2a1c514f-f0ad-44c0-a4bd-b62d586cb351" providerId="AD" clId="Web-{D5FBEA33-6F36-48C7-92EF-1E23C87A5123}" dt="2024-10-15T16:32:13.983" v="0"/>
          <ac:spMkLst>
            <pc:docMk/>
            <pc:sldMk cId="491692405" sldId="1868"/>
            <ac:spMk id="65" creationId="{E3E51905-F374-4E1A-97CF-B741584B74D5}"/>
          </ac:spMkLst>
        </pc:spChg>
        <pc:grpChg chg="del">
          <ac:chgData name="Guedj, Stephanie D. (she/her/hers)" userId="S::stephanie.guedj@va.gov::2a1c514f-f0ad-44c0-a4bd-b62d586cb351" providerId="AD" clId="Web-{D5FBEA33-6F36-48C7-92EF-1E23C87A5123}" dt="2024-10-15T16:32:13.983" v="0"/>
          <ac:grpSpMkLst>
            <pc:docMk/>
            <pc:sldMk cId="491692405" sldId="1868"/>
            <ac:grpSpMk id="41" creationId="{BEB2E44E-30A6-416E-A45D-B1E328629559}"/>
          </ac:grpSpMkLst>
        </pc:grpChg>
      </pc:sldChg>
      <pc:sldChg chg="addSp modSp mod modClrScheme chgLayout">
        <pc:chgData name="Guedj, Stephanie D. (she/her/hers)" userId="S::stephanie.guedj@va.gov::2a1c514f-f0ad-44c0-a4bd-b62d586cb351" providerId="AD" clId="Web-{D5FBEA33-6F36-48C7-92EF-1E23C87A5123}" dt="2024-10-15T16:32:33.983" v="1"/>
        <pc:sldMkLst>
          <pc:docMk/>
          <pc:sldMk cId="3377598115" sldId="1869"/>
        </pc:sldMkLst>
        <pc:spChg chg="mod ord">
          <ac:chgData name="Guedj, Stephanie D. (she/her/hers)" userId="S::stephanie.guedj@va.gov::2a1c514f-f0ad-44c0-a4bd-b62d586cb351" providerId="AD" clId="Web-{D5FBEA33-6F36-48C7-92EF-1E23C87A5123}" dt="2024-10-15T16:32:33.983" v="1"/>
          <ac:spMkLst>
            <pc:docMk/>
            <pc:sldMk cId="3377598115" sldId="1869"/>
            <ac:spMk id="2" creationId="{BC059481-557B-4CE6-94A6-B532E52BACBF}"/>
          </ac:spMkLst>
        </pc:spChg>
        <pc:spChg chg="mod ord">
          <ac:chgData name="Guedj, Stephanie D. (she/her/hers)" userId="S::stephanie.guedj@va.gov::2a1c514f-f0ad-44c0-a4bd-b62d586cb351" providerId="AD" clId="Web-{D5FBEA33-6F36-48C7-92EF-1E23C87A5123}" dt="2024-10-15T16:32:33.983" v="1"/>
          <ac:spMkLst>
            <pc:docMk/>
            <pc:sldMk cId="3377598115" sldId="1869"/>
            <ac:spMk id="3" creationId="{D6E8C12A-D9BD-474F-AC55-B3EDF24DC27F}"/>
          </ac:spMkLst>
        </pc:spChg>
        <pc:spChg chg="add mod ord">
          <ac:chgData name="Guedj, Stephanie D. (she/her/hers)" userId="S::stephanie.guedj@va.gov::2a1c514f-f0ad-44c0-a4bd-b62d586cb351" providerId="AD" clId="Web-{D5FBEA33-6F36-48C7-92EF-1E23C87A5123}" dt="2024-10-15T16:32:33.983" v="1"/>
          <ac:spMkLst>
            <pc:docMk/>
            <pc:sldMk cId="3377598115" sldId="1869"/>
            <ac:spMk id="4" creationId="{D9182383-3F4A-1264-7733-8F04B1A5ADBF}"/>
          </ac:spMkLst>
        </pc:spChg>
      </pc:sldChg>
    </pc:docChg>
  </pc:docChgLst>
  <pc:docChgLst>
    <pc:chgData name="Guedj, Stephanie D. (she/her/hers)" userId="S::stephanie.guedj@va.gov::2a1c514f-f0ad-44c0-a4bd-b62d586cb351" providerId="AD" clId="Web-{3AEF62A1-149E-494B-825C-DC7D4A2C8B77}"/>
    <pc:docChg chg="addSld modSld">
      <pc:chgData name="Guedj, Stephanie D. (she/her/hers)" userId="S::stephanie.guedj@va.gov::2a1c514f-f0ad-44c0-a4bd-b62d586cb351" providerId="AD" clId="Web-{3AEF62A1-149E-494B-825C-DC7D4A2C8B77}" dt="2024-10-10T11:44:33.891" v="69" actId="20577"/>
      <pc:docMkLst>
        <pc:docMk/>
      </pc:docMkLst>
      <pc:sldChg chg="modSp">
        <pc:chgData name="Guedj, Stephanie D. (she/her/hers)" userId="S::stephanie.guedj@va.gov::2a1c514f-f0ad-44c0-a4bd-b62d586cb351" providerId="AD" clId="Web-{3AEF62A1-149E-494B-825C-DC7D4A2C8B77}" dt="2024-10-10T11:41:48.126" v="50" actId="20577"/>
        <pc:sldMkLst>
          <pc:docMk/>
          <pc:sldMk cId="2809186044" sldId="266"/>
        </pc:sldMkLst>
        <pc:spChg chg="mod">
          <ac:chgData name="Guedj, Stephanie D. (she/her/hers)" userId="S::stephanie.guedj@va.gov::2a1c514f-f0ad-44c0-a4bd-b62d586cb351" providerId="AD" clId="Web-{3AEF62A1-149E-494B-825C-DC7D4A2C8B77}" dt="2024-10-10T11:41:48.126" v="50" actId="20577"/>
          <ac:spMkLst>
            <pc:docMk/>
            <pc:sldMk cId="2809186044" sldId="266"/>
            <ac:spMk id="6" creationId="{12168C8D-2F43-7598-73A2-0240E783BAF6}"/>
          </ac:spMkLst>
        </pc:spChg>
      </pc:sldChg>
      <pc:sldChg chg="modSp">
        <pc:chgData name="Guedj, Stephanie D. (she/her/hers)" userId="S::stephanie.guedj@va.gov::2a1c514f-f0ad-44c0-a4bd-b62d586cb351" providerId="AD" clId="Web-{3AEF62A1-149E-494B-825C-DC7D4A2C8B77}" dt="2024-10-10T11:38:18.080" v="48" actId="20577"/>
        <pc:sldMkLst>
          <pc:docMk/>
          <pc:sldMk cId="3407364971" sldId="269"/>
        </pc:sldMkLst>
        <pc:spChg chg="mod">
          <ac:chgData name="Guedj, Stephanie D. (she/her/hers)" userId="S::stephanie.guedj@va.gov::2a1c514f-f0ad-44c0-a4bd-b62d586cb351" providerId="AD" clId="Web-{3AEF62A1-149E-494B-825C-DC7D4A2C8B77}" dt="2024-10-10T11:38:18.080" v="48" actId="20577"/>
          <ac:spMkLst>
            <pc:docMk/>
            <pc:sldMk cId="3407364971" sldId="269"/>
            <ac:spMk id="4" creationId="{08D33560-49A6-9362-697B-B4C121E19899}"/>
          </ac:spMkLst>
        </pc:spChg>
        <pc:spChg chg="mod">
          <ac:chgData name="Guedj, Stephanie D. (she/her/hers)" userId="S::stephanie.guedj@va.gov::2a1c514f-f0ad-44c0-a4bd-b62d586cb351" providerId="AD" clId="Web-{3AEF62A1-149E-494B-825C-DC7D4A2C8B77}" dt="2024-10-10T11:30:02.488" v="34" actId="1076"/>
          <ac:spMkLst>
            <pc:docMk/>
            <pc:sldMk cId="3407364971" sldId="269"/>
            <ac:spMk id="7" creationId="{8E497AFF-031D-4874-1E27-E513F515DAC8}"/>
          </ac:spMkLst>
        </pc:spChg>
        <pc:graphicFrameChg chg="mod modGraphic">
          <ac:chgData name="Guedj, Stephanie D. (she/her/hers)" userId="S::stephanie.guedj@va.gov::2a1c514f-f0ad-44c0-a4bd-b62d586cb351" providerId="AD" clId="Web-{3AEF62A1-149E-494B-825C-DC7D4A2C8B77}" dt="2024-10-10T11:29:52.972" v="33"/>
          <ac:graphicFrameMkLst>
            <pc:docMk/>
            <pc:sldMk cId="3407364971" sldId="269"/>
            <ac:graphicFrameMk id="6" creationId="{A3B83A32-3E38-9C78-5B4C-39F5CAA78BEB}"/>
          </ac:graphicFrameMkLst>
        </pc:graphicFrameChg>
      </pc:sldChg>
      <pc:sldChg chg="modSp">
        <pc:chgData name="Guedj, Stephanie D. (she/her/hers)" userId="S::stephanie.guedj@va.gov::2a1c514f-f0ad-44c0-a4bd-b62d586cb351" providerId="AD" clId="Web-{3AEF62A1-149E-494B-825C-DC7D4A2C8B77}" dt="2024-10-10T11:37:31.970" v="39" actId="20577"/>
        <pc:sldMkLst>
          <pc:docMk/>
          <pc:sldMk cId="111468462" sldId="298"/>
        </pc:sldMkLst>
        <pc:spChg chg="mod">
          <ac:chgData name="Guedj, Stephanie D. (she/her/hers)" userId="S::stephanie.guedj@va.gov::2a1c514f-f0ad-44c0-a4bd-b62d586cb351" providerId="AD" clId="Web-{3AEF62A1-149E-494B-825C-DC7D4A2C8B77}" dt="2024-10-10T11:37:31.970" v="39" actId="20577"/>
          <ac:spMkLst>
            <pc:docMk/>
            <pc:sldMk cId="111468462" sldId="298"/>
            <ac:spMk id="2" creationId="{D717D3A6-1E80-7D90-1926-C467ED681D85}"/>
          </ac:spMkLst>
        </pc:spChg>
      </pc:sldChg>
      <pc:sldChg chg="modSp new">
        <pc:chgData name="Guedj, Stephanie D. (she/her/hers)" userId="S::stephanie.guedj@va.gov::2a1c514f-f0ad-44c0-a4bd-b62d586cb351" providerId="AD" clId="Web-{3AEF62A1-149E-494B-825C-DC7D4A2C8B77}" dt="2024-10-10T11:44:33.891" v="69" actId="20577"/>
        <pc:sldMkLst>
          <pc:docMk/>
          <pc:sldMk cId="561133639" sldId="299"/>
        </pc:sldMkLst>
        <pc:spChg chg="mod">
          <ac:chgData name="Guedj, Stephanie D. (she/her/hers)" userId="S::stephanie.guedj@va.gov::2a1c514f-f0ad-44c0-a4bd-b62d586cb351" providerId="AD" clId="Web-{3AEF62A1-149E-494B-825C-DC7D4A2C8B77}" dt="2024-10-10T11:44:19.141" v="62" actId="20577"/>
          <ac:spMkLst>
            <pc:docMk/>
            <pc:sldMk cId="561133639" sldId="299"/>
            <ac:spMk id="2" creationId="{BAEEF4AA-1885-F6CD-1D71-1E82E7C5DA97}"/>
          </ac:spMkLst>
        </pc:spChg>
        <pc:spChg chg="mod">
          <ac:chgData name="Guedj, Stephanie D. (she/her/hers)" userId="S::stephanie.guedj@va.gov::2a1c514f-f0ad-44c0-a4bd-b62d586cb351" providerId="AD" clId="Web-{3AEF62A1-149E-494B-825C-DC7D4A2C8B77}" dt="2024-10-10T11:44:33.891" v="69" actId="20577"/>
          <ac:spMkLst>
            <pc:docMk/>
            <pc:sldMk cId="561133639" sldId="299"/>
            <ac:spMk id="4" creationId="{048FCFEB-2455-688E-8975-0C4167514666}"/>
          </ac:spMkLst>
        </pc:spChg>
      </pc:sldChg>
    </pc:docChg>
  </pc:docChgLst>
</pc:chgInfo>
</file>

<file path=ppt/diagrams/_rels/data1.xml.rels><?xml version="1.0" encoding="UTF-8" standalone="yes"?>
<Relationships xmlns="http://schemas.openxmlformats.org/package/2006/relationships"><Relationship Id="rId3" Type="http://schemas.openxmlformats.org/officeDocument/2006/relationships/hyperlink" Target="https://www.hiv.va.gov/products/prep-patient-factsheets.asp" TargetMode="External"/><Relationship Id="rId2" Type="http://schemas.openxmlformats.org/officeDocument/2006/relationships/hyperlink" Target="https://www.patientcare.va.gov/LGBT/VAFacilities.asp" TargetMode="External"/><Relationship Id="rId1" Type="http://schemas.openxmlformats.org/officeDocument/2006/relationships/hyperlink" Target="https://www.patientcare.va.gov/LGBT/docs/2022/Birth-Sex-Gender-Identity-FactSheet-for-Veterans-2022.pdf" TargetMode="External"/><Relationship Id="rId5" Type="http://schemas.openxmlformats.org/officeDocument/2006/relationships/hyperlink" Target="https://www.patientcare.va.gov/LGBT/docs/2024/Gender-Affirming_Care_at_VA-Providers_4-24.pdf" TargetMode="External"/><Relationship Id="rId4" Type="http://schemas.openxmlformats.org/officeDocument/2006/relationships/hyperlink" Target="https://www.patientcare.va.gov/LGBT/VA_LGBT_Policies.asp#:~:text=VHA%20Directive%201340%3A%20Health%20Care%20for%20Veterans%20who,Providing%20Health%20Care%20for%20Transgender%20and%20Intersex%20Veterans." TargetMode="External"/></Relationships>
</file>

<file path=ppt/diagrams/_rels/drawing1.xml.rels><?xml version="1.0" encoding="UTF-8" standalone="yes"?>
<Relationships xmlns="http://schemas.openxmlformats.org/package/2006/relationships"><Relationship Id="rId3" Type="http://schemas.openxmlformats.org/officeDocument/2006/relationships/hyperlink" Target="https://www.hiv.va.gov/products/prep-patient-factsheets.asp" TargetMode="External"/><Relationship Id="rId2" Type="http://schemas.openxmlformats.org/officeDocument/2006/relationships/hyperlink" Target="https://www.patientcare.va.gov/LGBT/VAFacilities.asp" TargetMode="External"/><Relationship Id="rId1" Type="http://schemas.openxmlformats.org/officeDocument/2006/relationships/hyperlink" Target="https://www.patientcare.va.gov/LGBT/docs/2022/Birth-Sex-Gender-Identity-FactSheet-for-Veterans-2022.pdf" TargetMode="External"/><Relationship Id="rId5" Type="http://schemas.openxmlformats.org/officeDocument/2006/relationships/hyperlink" Target="https://www.patientcare.va.gov/LGBT/docs/2024/Gender-Affirming_Care_at_VA-Providers_4-24.pdf" TargetMode="External"/><Relationship Id="rId4" Type="http://schemas.openxmlformats.org/officeDocument/2006/relationships/hyperlink" Target="https://www.patientcare.va.gov/LGBT/VA_LGBT_Policies.asp#:~:text=VHA%20Directive%201340%3A%20Health%20Care%20for%20Veterans%20who,Providing%20Health%20Care%20for%20Transgender%20and%20Intersex%20Veterans." TargetMode="Externa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30DD40C-42E7-438F-8D33-8B84D258C456}" type="doc">
      <dgm:prSet loTypeId="urn:microsoft.com/office/officeart/2005/8/layout/default" loCatId="list" qsTypeId="urn:microsoft.com/office/officeart/2005/8/quickstyle/simple1" qsCatId="simple" csTypeId="urn:microsoft.com/office/officeart/2005/8/colors/accent0_3" csCatId="mainScheme" phldr="1"/>
      <dgm:spPr/>
      <dgm:t>
        <a:bodyPr/>
        <a:lstStyle/>
        <a:p>
          <a:endParaRPr lang="en-US"/>
        </a:p>
      </dgm:t>
    </dgm:pt>
    <dgm:pt modelId="{7C11A567-E4C5-4F1E-9343-8B2774B7EDE8}">
      <dgm:prSet phldrT="[Text]" phldr="0"/>
      <dgm:spPr/>
      <dgm:t>
        <a:bodyPr/>
        <a:lstStyle/>
        <a:p>
          <a:r>
            <a:rPr lang="en-US">
              <a:latin typeface="Calibri"/>
            </a:rPr>
            <a:t>Endocrinology</a:t>
          </a:r>
          <a:endParaRPr lang="en-US"/>
        </a:p>
      </dgm:t>
    </dgm:pt>
    <dgm:pt modelId="{34DE65FF-61A6-4155-BB7E-BF928AEB0F41}" type="parTrans" cxnId="{B1D40C86-B1BA-495F-B23B-4A3C921B0591}">
      <dgm:prSet/>
      <dgm:spPr/>
      <dgm:t>
        <a:bodyPr/>
        <a:lstStyle/>
        <a:p>
          <a:endParaRPr lang="en-US"/>
        </a:p>
      </dgm:t>
    </dgm:pt>
    <dgm:pt modelId="{1FAD4C2A-4040-426A-A06A-2912D09DB886}" type="sibTrans" cxnId="{B1D40C86-B1BA-495F-B23B-4A3C921B0591}">
      <dgm:prSet/>
      <dgm:spPr/>
      <dgm:t>
        <a:bodyPr/>
        <a:lstStyle/>
        <a:p>
          <a:endParaRPr lang="en-US"/>
        </a:p>
      </dgm:t>
    </dgm:pt>
    <dgm:pt modelId="{CFBCB5D7-A89F-4EAE-9CCA-D0873B3457EF}">
      <dgm:prSet phldrT="[Text]" phldr="0"/>
      <dgm:spPr/>
      <dgm:t>
        <a:bodyPr/>
        <a:lstStyle/>
        <a:p>
          <a:pPr rtl="0"/>
          <a:r>
            <a:rPr lang="en-US">
              <a:latin typeface="Calibri"/>
            </a:rPr>
            <a:t>Speech and Language</a:t>
          </a:r>
          <a:endParaRPr lang="en-US"/>
        </a:p>
      </dgm:t>
    </dgm:pt>
    <dgm:pt modelId="{F1FB184B-E8B1-4D40-9942-703F48069C00}" type="parTrans" cxnId="{A815FCF6-8285-49E5-84F1-F09B8BE58DCD}">
      <dgm:prSet/>
      <dgm:spPr/>
      <dgm:t>
        <a:bodyPr/>
        <a:lstStyle/>
        <a:p>
          <a:endParaRPr lang="en-US"/>
        </a:p>
      </dgm:t>
    </dgm:pt>
    <dgm:pt modelId="{5429B209-7C99-4EEF-A1B7-9E08E3B6F32E}" type="sibTrans" cxnId="{A815FCF6-8285-49E5-84F1-F09B8BE58DCD}">
      <dgm:prSet/>
      <dgm:spPr/>
      <dgm:t>
        <a:bodyPr/>
        <a:lstStyle/>
        <a:p>
          <a:endParaRPr lang="en-US"/>
        </a:p>
      </dgm:t>
    </dgm:pt>
    <dgm:pt modelId="{DC15A002-2611-42C1-94F0-723B55037800}">
      <dgm:prSet phldrT="[Text]" phldr="0"/>
      <dgm:spPr/>
      <dgm:t>
        <a:bodyPr/>
        <a:lstStyle/>
        <a:p>
          <a:r>
            <a:rPr lang="en-US">
              <a:latin typeface="Calibri"/>
            </a:rPr>
            <a:t>Prosthetics</a:t>
          </a:r>
          <a:endParaRPr lang="en-US"/>
        </a:p>
      </dgm:t>
    </dgm:pt>
    <dgm:pt modelId="{9749132F-F02B-464F-8FE2-3B79FFF15CC7}" type="parTrans" cxnId="{40E2A644-BFDE-49DE-A27D-96291D8FC744}">
      <dgm:prSet/>
      <dgm:spPr/>
      <dgm:t>
        <a:bodyPr/>
        <a:lstStyle/>
        <a:p>
          <a:endParaRPr lang="en-US"/>
        </a:p>
      </dgm:t>
    </dgm:pt>
    <dgm:pt modelId="{0CEFC091-98EA-4673-906E-C748E92D00A8}" type="sibTrans" cxnId="{40E2A644-BFDE-49DE-A27D-96291D8FC744}">
      <dgm:prSet/>
      <dgm:spPr/>
      <dgm:t>
        <a:bodyPr/>
        <a:lstStyle/>
        <a:p>
          <a:endParaRPr lang="en-US"/>
        </a:p>
      </dgm:t>
    </dgm:pt>
    <dgm:pt modelId="{58DDADF7-1C66-48BF-8BF9-21135F0C6AB6}">
      <dgm:prSet phldrT="[Text]" phldr="0"/>
      <dgm:spPr/>
      <dgm:t>
        <a:bodyPr/>
        <a:lstStyle/>
        <a:p>
          <a:r>
            <a:rPr lang="en-US">
              <a:latin typeface="Calibri"/>
            </a:rPr>
            <a:t>Fertility</a:t>
          </a:r>
          <a:endParaRPr lang="en-US"/>
        </a:p>
      </dgm:t>
    </dgm:pt>
    <dgm:pt modelId="{007FD739-B4ED-4D66-9003-03CDA71F08B5}" type="parTrans" cxnId="{5B90AA1C-CA26-452A-9C0E-EF774F4DCC05}">
      <dgm:prSet/>
      <dgm:spPr/>
      <dgm:t>
        <a:bodyPr/>
        <a:lstStyle/>
        <a:p>
          <a:endParaRPr lang="en-US"/>
        </a:p>
      </dgm:t>
    </dgm:pt>
    <dgm:pt modelId="{3EE22A3E-41F5-4F10-BB31-E2925024D99B}" type="sibTrans" cxnId="{5B90AA1C-CA26-452A-9C0E-EF774F4DCC05}">
      <dgm:prSet/>
      <dgm:spPr/>
      <dgm:t>
        <a:bodyPr/>
        <a:lstStyle/>
        <a:p>
          <a:endParaRPr lang="en-US"/>
        </a:p>
      </dgm:t>
    </dgm:pt>
    <dgm:pt modelId="{6C7A60B4-19E1-4DE0-91D3-C24DF371EE8E}">
      <dgm:prSet phldrT="[Text]" phldr="0"/>
      <dgm:spPr/>
      <dgm:t>
        <a:bodyPr/>
        <a:lstStyle/>
        <a:p>
          <a:pPr rtl="0"/>
          <a:r>
            <a:rPr lang="en-US">
              <a:latin typeface="Calibri"/>
            </a:rPr>
            <a:t>Pre- and Post-Surgical Care</a:t>
          </a:r>
          <a:endParaRPr lang="en-US"/>
        </a:p>
      </dgm:t>
    </dgm:pt>
    <dgm:pt modelId="{6871206F-6AEF-4304-8E00-3BE9AEE5F369}" type="parTrans" cxnId="{08D637AB-899C-406C-A258-C707DAD2B721}">
      <dgm:prSet/>
      <dgm:spPr/>
      <dgm:t>
        <a:bodyPr/>
        <a:lstStyle/>
        <a:p>
          <a:endParaRPr lang="en-US"/>
        </a:p>
      </dgm:t>
    </dgm:pt>
    <dgm:pt modelId="{E4D9C244-2E00-4F76-B897-106827B507E3}" type="sibTrans" cxnId="{08D637AB-899C-406C-A258-C707DAD2B721}">
      <dgm:prSet/>
      <dgm:spPr/>
      <dgm:t>
        <a:bodyPr/>
        <a:lstStyle/>
        <a:p>
          <a:endParaRPr lang="en-US"/>
        </a:p>
      </dgm:t>
    </dgm:pt>
    <dgm:pt modelId="{B685E960-80B4-47DD-ACF9-954FC7AFF1BD}">
      <dgm:prSet phldr="0"/>
      <dgm:spPr/>
      <dgm:t>
        <a:bodyPr/>
        <a:lstStyle/>
        <a:p>
          <a:pPr rtl="0"/>
          <a:r>
            <a:rPr lang="en-US">
              <a:latin typeface="Calibri"/>
              <a:hlinkClick xmlns:r="http://schemas.openxmlformats.org/officeDocument/2006/relationships" r:id="rId1"/>
            </a:rPr>
            <a:t>Enrollment/Registration (EMR changes for name and gender markers)</a:t>
          </a:r>
        </a:p>
      </dgm:t>
    </dgm:pt>
    <dgm:pt modelId="{0656D52F-1260-426C-B4BC-F39B4D677FC6}" type="parTrans" cxnId="{4B4EB851-59C1-4A94-9DD4-9582ABDA4367}">
      <dgm:prSet/>
      <dgm:spPr/>
    </dgm:pt>
    <dgm:pt modelId="{2536F4FF-B4BD-4633-8DDE-AD41950976E5}" type="sibTrans" cxnId="{4B4EB851-59C1-4A94-9DD4-9582ABDA4367}">
      <dgm:prSet/>
      <dgm:spPr/>
    </dgm:pt>
    <dgm:pt modelId="{7F0B7120-96DC-4B11-925E-22228C4C31AF}">
      <dgm:prSet phldr="0"/>
      <dgm:spPr/>
      <dgm:t>
        <a:bodyPr/>
        <a:lstStyle/>
        <a:p>
          <a:pPr rtl="0"/>
          <a:r>
            <a:rPr lang="en-US">
              <a:latin typeface="Calibri"/>
            </a:rPr>
            <a:t>Laser Hair Removal</a:t>
          </a:r>
        </a:p>
      </dgm:t>
    </dgm:pt>
    <dgm:pt modelId="{E6A47EA4-DE34-4491-A33B-73DB9CCB262E}" type="parTrans" cxnId="{45DE68B8-DBCE-4C36-BC6D-A58D394FE5AD}">
      <dgm:prSet/>
      <dgm:spPr/>
    </dgm:pt>
    <dgm:pt modelId="{E10775D8-43EB-414B-9160-542E44427D60}" type="sibTrans" cxnId="{45DE68B8-DBCE-4C36-BC6D-A58D394FE5AD}">
      <dgm:prSet/>
      <dgm:spPr/>
    </dgm:pt>
    <dgm:pt modelId="{A84C3142-29E6-4A34-81A8-0DA3F0647A0E}">
      <dgm:prSet phldr="0"/>
      <dgm:spPr/>
      <dgm:t>
        <a:bodyPr/>
        <a:lstStyle/>
        <a:p>
          <a:pPr rtl="0"/>
          <a:r>
            <a:rPr lang="en-US">
              <a:latin typeface="Calibri"/>
            </a:rPr>
            <a:t>Support Groups</a:t>
          </a:r>
        </a:p>
      </dgm:t>
    </dgm:pt>
    <dgm:pt modelId="{D1AE56FF-C169-46A9-80EE-760312BA2D2F}" type="parTrans" cxnId="{4B7C8E70-0499-4393-B8F4-26D0BDF9D62E}">
      <dgm:prSet/>
      <dgm:spPr/>
    </dgm:pt>
    <dgm:pt modelId="{89B3FB1D-9001-4141-8AA5-E132E58EE504}" type="sibTrans" cxnId="{4B7C8E70-0499-4393-B8F4-26D0BDF9D62E}">
      <dgm:prSet/>
      <dgm:spPr/>
    </dgm:pt>
    <dgm:pt modelId="{1F8F2CFD-DFDC-48CE-A87E-E8E3787EE331}">
      <dgm:prSet phldr="0"/>
      <dgm:spPr/>
      <dgm:t>
        <a:bodyPr/>
        <a:lstStyle/>
        <a:p>
          <a:pPr rtl="0"/>
          <a:r>
            <a:rPr lang="en-US">
              <a:latin typeface="Calibri"/>
              <a:hlinkClick xmlns:r="http://schemas.openxmlformats.org/officeDocument/2006/relationships" r:id="rId2"/>
            </a:rPr>
            <a:t>LGBTQ+ Veteran Care Coordinator (VCC)</a:t>
          </a:r>
        </a:p>
      </dgm:t>
    </dgm:pt>
    <dgm:pt modelId="{1F4D6968-C81D-4112-AFC4-69B0317F9D91}" type="parTrans" cxnId="{D1B7BEDE-5AAF-44F7-BB0C-1FB05DDD57D2}">
      <dgm:prSet/>
      <dgm:spPr/>
    </dgm:pt>
    <dgm:pt modelId="{29857DDA-1D9B-4EDF-9188-64B2EBEF6515}" type="sibTrans" cxnId="{D1B7BEDE-5AAF-44F7-BB0C-1FB05DDD57D2}">
      <dgm:prSet/>
      <dgm:spPr/>
    </dgm:pt>
    <dgm:pt modelId="{41736E30-82D6-49B1-829D-9412205AA1CD}">
      <dgm:prSet phldr="0"/>
      <dgm:spPr/>
      <dgm:t>
        <a:bodyPr/>
        <a:lstStyle/>
        <a:p>
          <a:pPr rtl="0"/>
          <a:r>
            <a:rPr lang="en-US">
              <a:latin typeface="Calibri"/>
              <a:hlinkClick xmlns:r="http://schemas.openxmlformats.org/officeDocument/2006/relationships" r:id="rId3"/>
            </a:rPr>
            <a:t>PrEP/HIV Treatment and Prevention</a:t>
          </a:r>
        </a:p>
      </dgm:t>
    </dgm:pt>
    <dgm:pt modelId="{5A6A237B-FD2C-4BB8-B30F-0B9C7FC23E36}" type="parTrans" cxnId="{0B96360B-FF73-4465-88D2-3A67A36DE93C}">
      <dgm:prSet/>
      <dgm:spPr/>
    </dgm:pt>
    <dgm:pt modelId="{A56CB58C-0CB3-4B90-8775-A3D911A54B7A}" type="sibTrans" cxnId="{0B96360B-FF73-4465-88D2-3A67A36DE93C}">
      <dgm:prSet/>
      <dgm:spPr/>
    </dgm:pt>
    <dgm:pt modelId="{94213F03-563C-4B2C-B42A-FEF090407D3C}">
      <dgm:prSet phldr="0"/>
      <dgm:spPr/>
      <dgm:t>
        <a:bodyPr/>
        <a:lstStyle/>
        <a:p>
          <a:pPr rtl="0"/>
          <a:r>
            <a:rPr lang="en-US">
              <a:latin typeface="Calibri"/>
              <a:hlinkClick xmlns:r="http://schemas.openxmlformats.org/officeDocument/2006/relationships" r:id="rId4"/>
            </a:rPr>
            <a:t>VHA Directives 1340 and 1341</a:t>
          </a:r>
        </a:p>
      </dgm:t>
    </dgm:pt>
    <dgm:pt modelId="{86FBEC83-B9AD-40ED-912A-CF5630BD08D3}" type="parTrans" cxnId="{AE995071-3906-4987-974D-047F15F7E4C4}">
      <dgm:prSet/>
      <dgm:spPr/>
    </dgm:pt>
    <dgm:pt modelId="{EA1A73B2-12B3-4802-AA54-9DA58463052C}" type="sibTrans" cxnId="{AE995071-3906-4987-974D-047F15F7E4C4}">
      <dgm:prSet/>
      <dgm:spPr/>
    </dgm:pt>
    <dgm:pt modelId="{769477CA-B745-4ED1-8F42-0FBF920CE8FA}">
      <dgm:prSet phldr="0"/>
      <dgm:spPr/>
      <dgm:t>
        <a:bodyPr/>
        <a:lstStyle/>
        <a:p>
          <a:pPr rtl="0"/>
          <a:r>
            <a:rPr lang="en-US">
              <a:latin typeface="Calibri"/>
              <a:hlinkClick xmlns:r="http://schemas.openxmlformats.org/officeDocument/2006/relationships" r:id="rId5"/>
            </a:rPr>
            <a:t>Resource for Providers: Gender-Affirming Care at VA</a:t>
          </a:r>
        </a:p>
      </dgm:t>
    </dgm:pt>
    <dgm:pt modelId="{C7E0F101-1CE3-47E2-8BCE-9DF28092152F}" type="parTrans" cxnId="{8273D33D-EB78-4FF7-A2E6-E35FF9EB5834}">
      <dgm:prSet/>
      <dgm:spPr/>
    </dgm:pt>
    <dgm:pt modelId="{3B7E799B-A1B4-418B-9A4C-F1E6A90EE20E}" type="sibTrans" cxnId="{8273D33D-EB78-4FF7-A2E6-E35FF9EB5834}">
      <dgm:prSet/>
      <dgm:spPr/>
    </dgm:pt>
    <dgm:pt modelId="{FE411821-2334-495E-9897-529CEBFB6E75}" type="pres">
      <dgm:prSet presAssocID="{230DD40C-42E7-438F-8D33-8B84D258C456}" presName="diagram" presStyleCnt="0">
        <dgm:presLayoutVars>
          <dgm:dir/>
          <dgm:resizeHandles val="exact"/>
        </dgm:presLayoutVars>
      </dgm:prSet>
      <dgm:spPr/>
    </dgm:pt>
    <dgm:pt modelId="{E166638F-31B5-4DB7-BAA8-947F26D9D05D}" type="pres">
      <dgm:prSet presAssocID="{7C11A567-E4C5-4F1E-9343-8B2774B7EDE8}" presName="node" presStyleLbl="node1" presStyleIdx="0" presStyleCnt="12">
        <dgm:presLayoutVars>
          <dgm:bulletEnabled val="1"/>
        </dgm:presLayoutVars>
      </dgm:prSet>
      <dgm:spPr/>
    </dgm:pt>
    <dgm:pt modelId="{974E3002-EF14-4805-8BAD-A747BEACE557}" type="pres">
      <dgm:prSet presAssocID="{1FAD4C2A-4040-426A-A06A-2912D09DB886}" presName="sibTrans" presStyleCnt="0"/>
      <dgm:spPr/>
    </dgm:pt>
    <dgm:pt modelId="{4502A364-B240-4CF1-8D8D-E71E1B6DB3AE}" type="pres">
      <dgm:prSet presAssocID="{CFBCB5D7-A89F-4EAE-9CCA-D0873B3457EF}" presName="node" presStyleLbl="node1" presStyleIdx="1" presStyleCnt="12">
        <dgm:presLayoutVars>
          <dgm:bulletEnabled val="1"/>
        </dgm:presLayoutVars>
      </dgm:prSet>
      <dgm:spPr/>
    </dgm:pt>
    <dgm:pt modelId="{B303CB01-904E-486D-8172-F806C1001C67}" type="pres">
      <dgm:prSet presAssocID="{5429B209-7C99-4EEF-A1B7-9E08E3B6F32E}" presName="sibTrans" presStyleCnt="0"/>
      <dgm:spPr/>
    </dgm:pt>
    <dgm:pt modelId="{2DD4A764-76EC-400D-8EA9-3CA012056F56}" type="pres">
      <dgm:prSet presAssocID="{DC15A002-2611-42C1-94F0-723B55037800}" presName="node" presStyleLbl="node1" presStyleIdx="2" presStyleCnt="12">
        <dgm:presLayoutVars>
          <dgm:bulletEnabled val="1"/>
        </dgm:presLayoutVars>
      </dgm:prSet>
      <dgm:spPr/>
    </dgm:pt>
    <dgm:pt modelId="{3927B773-19EE-4C35-8B81-AE22128A3F8D}" type="pres">
      <dgm:prSet presAssocID="{0CEFC091-98EA-4673-906E-C748E92D00A8}" presName="sibTrans" presStyleCnt="0"/>
      <dgm:spPr/>
    </dgm:pt>
    <dgm:pt modelId="{522A6988-26E7-4D18-A4A6-65BA1B2996CA}" type="pres">
      <dgm:prSet presAssocID="{58DDADF7-1C66-48BF-8BF9-21135F0C6AB6}" presName="node" presStyleLbl="node1" presStyleIdx="3" presStyleCnt="12">
        <dgm:presLayoutVars>
          <dgm:bulletEnabled val="1"/>
        </dgm:presLayoutVars>
      </dgm:prSet>
      <dgm:spPr/>
    </dgm:pt>
    <dgm:pt modelId="{591DDBA8-A660-4216-AA7C-FC0E480B42D8}" type="pres">
      <dgm:prSet presAssocID="{3EE22A3E-41F5-4F10-BB31-E2925024D99B}" presName="sibTrans" presStyleCnt="0"/>
      <dgm:spPr/>
    </dgm:pt>
    <dgm:pt modelId="{AE82EDA1-0D10-4921-8753-4A5FA336EBDE}" type="pres">
      <dgm:prSet presAssocID="{6C7A60B4-19E1-4DE0-91D3-C24DF371EE8E}" presName="node" presStyleLbl="node1" presStyleIdx="4" presStyleCnt="12">
        <dgm:presLayoutVars>
          <dgm:bulletEnabled val="1"/>
        </dgm:presLayoutVars>
      </dgm:prSet>
      <dgm:spPr/>
    </dgm:pt>
    <dgm:pt modelId="{1758B809-1CF8-4C5A-B0E6-1C405947E2B2}" type="pres">
      <dgm:prSet presAssocID="{E4D9C244-2E00-4F76-B897-106827B507E3}" presName="sibTrans" presStyleCnt="0"/>
      <dgm:spPr/>
    </dgm:pt>
    <dgm:pt modelId="{BACAEEA2-8348-4EF8-AD73-B6D8A0E490D4}" type="pres">
      <dgm:prSet presAssocID="{B685E960-80B4-47DD-ACF9-954FC7AFF1BD}" presName="node" presStyleLbl="node1" presStyleIdx="5" presStyleCnt="12">
        <dgm:presLayoutVars>
          <dgm:bulletEnabled val="1"/>
        </dgm:presLayoutVars>
      </dgm:prSet>
      <dgm:spPr/>
    </dgm:pt>
    <dgm:pt modelId="{46CF9EEB-277F-447C-8B15-F2A2F6C2196A}" type="pres">
      <dgm:prSet presAssocID="{2536F4FF-B4BD-4633-8DDE-AD41950976E5}" presName="sibTrans" presStyleCnt="0"/>
      <dgm:spPr/>
    </dgm:pt>
    <dgm:pt modelId="{A6747379-BA89-493D-BB65-DE4E1DEF6DC4}" type="pres">
      <dgm:prSet presAssocID="{7F0B7120-96DC-4B11-925E-22228C4C31AF}" presName="node" presStyleLbl="node1" presStyleIdx="6" presStyleCnt="12">
        <dgm:presLayoutVars>
          <dgm:bulletEnabled val="1"/>
        </dgm:presLayoutVars>
      </dgm:prSet>
      <dgm:spPr/>
    </dgm:pt>
    <dgm:pt modelId="{C8363FE0-80EE-40E1-97C4-97207D96AA73}" type="pres">
      <dgm:prSet presAssocID="{E10775D8-43EB-414B-9160-542E44427D60}" presName="sibTrans" presStyleCnt="0"/>
      <dgm:spPr/>
    </dgm:pt>
    <dgm:pt modelId="{D071E8A6-B8EB-470D-A822-3AAB47377F73}" type="pres">
      <dgm:prSet presAssocID="{A84C3142-29E6-4A34-81A8-0DA3F0647A0E}" presName="node" presStyleLbl="node1" presStyleIdx="7" presStyleCnt="12">
        <dgm:presLayoutVars>
          <dgm:bulletEnabled val="1"/>
        </dgm:presLayoutVars>
      </dgm:prSet>
      <dgm:spPr/>
    </dgm:pt>
    <dgm:pt modelId="{8D88DDE9-BC52-4A04-BE36-F54C04FD6E2A}" type="pres">
      <dgm:prSet presAssocID="{89B3FB1D-9001-4141-8AA5-E132E58EE504}" presName="sibTrans" presStyleCnt="0"/>
      <dgm:spPr/>
    </dgm:pt>
    <dgm:pt modelId="{F89CDF17-0188-4BAE-BAF6-FAF491C762C3}" type="pres">
      <dgm:prSet presAssocID="{1F8F2CFD-DFDC-48CE-A87E-E8E3787EE331}" presName="node" presStyleLbl="node1" presStyleIdx="8" presStyleCnt="12">
        <dgm:presLayoutVars>
          <dgm:bulletEnabled val="1"/>
        </dgm:presLayoutVars>
      </dgm:prSet>
      <dgm:spPr/>
    </dgm:pt>
    <dgm:pt modelId="{139E6EDA-3194-4E9C-A3F9-0508BA28AFFF}" type="pres">
      <dgm:prSet presAssocID="{29857DDA-1D9B-4EDF-9188-64B2EBEF6515}" presName="sibTrans" presStyleCnt="0"/>
      <dgm:spPr/>
    </dgm:pt>
    <dgm:pt modelId="{A87ACCDA-85D1-48FC-935D-8A906BE610CD}" type="pres">
      <dgm:prSet presAssocID="{41736E30-82D6-49B1-829D-9412205AA1CD}" presName="node" presStyleLbl="node1" presStyleIdx="9" presStyleCnt="12">
        <dgm:presLayoutVars>
          <dgm:bulletEnabled val="1"/>
        </dgm:presLayoutVars>
      </dgm:prSet>
      <dgm:spPr/>
    </dgm:pt>
    <dgm:pt modelId="{F5A1ABD5-2D20-4061-9DDC-E259FA4FAE75}" type="pres">
      <dgm:prSet presAssocID="{A56CB58C-0CB3-4B90-8775-A3D911A54B7A}" presName="sibTrans" presStyleCnt="0"/>
      <dgm:spPr/>
    </dgm:pt>
    <dgm:pt modelId="{05A9D28C-4621-4C9A-B904-1F18E81B4F84}" type="pres">
      <dgm:prSet presAssocID="{94213F03-563C-4B2C-B42A-FEF090407D3C}" presName="node" presStyleLbl="node1" presStyleIdx="10" presStyleCnt="12">
        <dgm:presLayoutVars>
          <dgm:bulletEnabled val="1"/>
        </dgm:presLayoutVars>
      </dgm:prSet>
      <dgm:spPr/>
    </dgm:pt>
    <dgm:pt modelId="{0F83B401-0221-45CE-A0AD-743A4E875B02}" type="pres">
      <dgm:prSet presAssocID="{EA1A73B2-12B3-4802-AA54-9DA58463052C}" presName="sibTrans" presStyleCnt="0"/>
      <dgm:spPr/>
    </dgm:pt>
    <dgm:pt modelId="{6B63EFA7-DB1F-48EA-BE69-80F482E240DD}" type="pres">
      <dgm:prSet presAssocID="{769477CA-B745-4ED1-8F42-0FBF920CE8FA}" presName="node" presStyleLbl="node1" presStyleIdx="11" presStyleCnt="12">
        <dgm:presLayoutVars>
          <dgm:bulletEnabled val="1"/>
        </dgm:presLayoutVars>
      </dgm:prSet>
      <dgm:spPr/>
    </dgm:pt>
  </dgm:ptLst>
  <dgm:cxnLst>
    <dgm:cxn modelId="{0B96360B-FF73-4465-88D2-3A67A36DE93C}" srcId="{230DD40C-42E7-438F-8D33-8B84D258C456}" destId="{41736E30-82D6-49B1-829D-9412205AA1CD}" srcOrd="9" destOrd="0" parTransId="{5A6A237B-FD2C-4BB8-B30F-0B9C7FC23E36}" sibTransId="{A56CB58C-0CB3-4B90-8775-A3D911A54B7A}"/>
    <dgm:cxn modelId="{D8671A0E-8284-4262-950A-EA6705BCC556}" type="presOf" srcId="{A84C3142-29E6-4A34-81A8-0DA3F0647A0E}" destId="{D071E8A6-B8EB-470D-A822-3AAB47377F73}" srcOrd="0" destOrd="0" presId="urn:microsoft.com/office/officeart/2005/8/layout/default"/>
    <dgm:cxn modelId="{9AD9D90E-473C-4C45-8C80-D56A08362A74}" type="presOf" srcId="{B685E960-80B4-47DD-ACF9-954FC7AFF1BD}" destId="{BACAEEA2-8348-4EF8-AD73-B6D8A0E490D4}" srcOrd="0" destOrd="0" presId="urn:microsoft.com/office/officeart/2005/8/layout/default"/>
    <dgm:cxn modelId="{5B90AA1C-CA26-452A-9C0E-EF774F4DCC05}" srcId="{230DD40C-42E7-438F-8D33-8B84D258C456}" destId="{58DDADF7-1C66-48BF-8BF9-21135F0C6AB6}" srcOrd="3" destOrd="0" parTransId="{007FD739-B4ED-4D66-9003-03CDA71F08B5}" sibTransId="{3EE22A3E-41F5-4F10-BB31-E2925024D99B}"/>
    <dgm:cxn modelId="{63E37039-D5B0-4CC6-A477-AC1E5DD9C835}" type="presOf" srcId="{7C11A567-E4C5-4F1E-9343-8B2774B7EDE8}" destId="{E166638F-31B5-4DB7-BAA8-947F26D9D05D}" srcOrd="0" destOrd="0" presId="urn:microsoft.com/office/officeart/2005/8/layout/default"/>
    <dgm:cxn modelId="{8273D33D-EB78-4FF7-A2E6-E35FF9EB5834}" srcId="{230DD40C-42E7-438F-8D33-8B84D258C456}" destId="{769477CA-B745-4ED1-8F42-0FBF920CE8FA}" srcOrd="11" destOrd="0" parTransId="{C7E0F101-1CE3-47E2-8BCE-9DF28092152F}" sibTransId="{3B7E799B-A1B4-418B-9A4C-F1E6A90EE20E}"/>
    <dgm:cxn modelId="{BDFA1844-5B82-4CB2-83F8-2048170A860F}" type="presOf" srcId="{94213F03-563C-4B2C-B42A-FEF090407D3C}" destId="{05A9D28C-4621-4C9A-B904-1F18E81B4F84}" srcOrd="0" destOrd="0" presId="urn:microsoft.com/office/officeart/2005/8/layout/default"/>
    <dgm:cxn modelId="{40E2A644-BFDE-49DE-A27D-96291D8FC744}" srcId="{230DD40C-42E7-438F-8D33-8B84D258C456}" destId="{DC15A002-2611-42C1-94F0-723B55037800}" srcOrd="2" destOrd="0" parTransId="{9749132F-F02B-464F-8FE2-3B79FFF15CC7}" sibTransId="{0CEFC091-98EA-4673-906E-C748E92D00A8}"/>
    <dgm:cxn modelId="{4B7C8E70-0499-4393-B8F4-26D0BDF9D62E}" srcId="{230DD40C-42E7-438F-8D33-8B84D258C456}" destId="{A84C3142-29E6-4A34-81A8-0DA3F0647A0E}" srcOrd="7" destOrd="0" parTransId="{D1AE56FF-C169-46A9-80EE-760312BA2D2F}" sibTransId="{89B3FB1D-9001-4141-8AA5-E132E58EE504}"/>
    <dgm:cxn modelId="{AE995071-3906-4987-974D-047F15F7E4C4}" srcId="{230DD40C-42E7-438F-8D33-8B84D258C456}" destId="{94213F03-563C-4B2C-B42A-FEF090407D3C}" srcOrd="10" destOrd="0" parTransId="{86FBEC83-B9AD-40ED-912A-CF5630BD08D3}" sibTransId="{EA1A73B2-12B3-4802-AA54-9DA58463052C}"/>
    <dgm:cxn modelId="{4B4EB851-59C1-4A94-9DD4-9582ABDA4367}" srcId="{230DD40C-42E7-438F-8D33-8B84D258C456}" destId="{B685E960-80B4-47DD-ACF9-954FC7AFF1BD}" srcOrd="5" destOrd="0" parTransId="{0656D52F-1260-426C-B4BC-F39B4D677FC6}" sibTransId="{2536F4FF-B4BD-4633-8DDE-AD41950976E5}"/>
    <dgm:cxn modelId="{B1D40C86-B1BA-495F-B23B-4A3C921B0591}" srcId="{230DD40C-42E7-438F-8D33-8B84D258C456}" destId="{7C11A567-E4C5-4F1E-9343-8B2774B7EDE8}" srcOrd="0" destOrd="0" parTransId="{34DE65FF-61A6-4155-BB7E-BF928AEB0F41}" sibTransId="{1FAD4C2A-4040-426A-A06A-2912D09DB886}"/>
    <dgm:cxn modelId="{BC768D8C-D4A8-4355-B951-FA7EE014652D}" type="presOf" srcId="{230DD40C-42E7-438F-8D33-8B84D258C456}" destId="{FE411821-2334-495E-9897-529CEBFB6E75}" srcOrd="0" destOrd="0" presId="urn:microsoft.com/office/officeart/2005/8/layout/default"/>
    <dgm:cxn modelId="{E0BA2794-301D-44AB-A4CB-0E15D1FC82FE}" type="presOf" srcId="{7F0B7120-96DC-4B11-925E-22228C4C31AF}" destId="{A6747379-BA89-493D-BB65-DE4E1DEF6DC4}" srcOrd="0" destOrd="0" presId="urn:microsoft.com/office/officeart/2005/8/layout/default"/>
    <dgm:cxn modelId="{642B7695-E7A1-4583-A397-B83AE7CEAD26}" type="presOf" srcId="{DC15A002-2611-42C1-94F0-723B55037800}" destId="{2DD4A764-76EC-400D-8EA9-3CA012056F56}" srcOrd="0" destOrd="0" presId="urn:microsoft.com/office/officeart/2005/8/layout/default"/>
    <dgm:cxn modelId="{08D637AB-899C-406C-A258-C707DAD2B721}" srcId="{230DD40C-42E7-438F-8D33-8B84D258C456}" destId="{6C7A60B4-19E1-4DE0-91D3-C24DF371EE8E}" srcOrd="4" destOrd="0" parTransId="{6871206F-6AEF-4304-8E00-3BE9AEE5F369}" sibTransId="{E4D9C244-2E00-4F76-B897-106827B507E3}"/>
    <dgm:cxn modelId="{427E21B1-10B5-4EA6-B0D0-1BB67CCD1743}" type="presOf" srcId="{769477CA-B745-4ED1-8F42-0FBF920CE8FA}" destId="{6B63EFA7-DB1F-48EA-BE69-80F482E240DD}" srcOrd="0" destOrd="0" presId="urn:microsoft.com/office/officeart/2005/8/layout/default"/>
    <dgm:cxn modelId="{45DE68B8-DBCE-4C36-BC6D-A58D394FE5AD}" srcId="{230DD40C-42E7-438F-8D33-8B84D258C456}" destId="{7F0B7120-96DC-4B11-925E-22228C4C31AF}" srcOrd="6" destOrd="0" parTransId="{E6A47EA4-DE34-4491-A33B-73DB9CCB262E}" sibTransId="{E10775D8-43EB-414B-9160-542E44427D60}"/>
    <dgm:cxn modelId="{C07CA9BB-B7F5-4902-ACDD-8923AB9CB868}" type="presOf" srcId="{41736E30-82D6-49B1-829D-9412205AA1CD}" destId="{A87ACCDA-85D1-48FC-935D-8A906BE610CD}" srcOrd="0" destOrd="0" presId="urn:microsoft.com/office/officeart/2005/8/layout/default"/>
    <dgm:cxn modelId="{8EA824CA-F645-4207-BFF5-442DE81816B6}" type="presOf" srcId="{58DDADF7-1C66-48BF-8BF9-21135F0C6AB6}" destId="{522A6988-26E7-4D18-A4A6-65BA1B2996CA}" srcOrd="0" destOrd="0" presId="urn:microsoft.com/office/officeart/2005/8/layout/default"/>
    <dgm:cxn modelId="{9EDF75D2-9C87-4A4C-A084-3BDE36E687E1}" type="presOf" srcId="{CFBCB5D7-A89F-4EAE-9CCA-D0873B3457EF}" destId="{4502A364-B240-4CF1-8D8D-E71E1B6DB3AE}" srcOrd="0" destOrd="0" presId="urn:microsoft.com/office/officeart/2005/8/layout/default"/>
    <dgm:cxn modelId="{D1B7BEDE-5AAF-44F7-BB0C-1FB05DDD57D2}" srcId="{230DD40C-42E7-438F-8D33-8B84D258C456}" destId="{1F8F2CFD-DFDC-48CE-A87E-E8E3787EE331}" srcOrd="8" destOrd="0" parTransId="{1F4D6968-C81D-4112-AFC4-69B0317F9D91}" sibTransId="{29857DDA-1D9B-4EDF-9188-64B2EBEF6515}"/>
    <dgm:cxn modelId="{F5780FDF-62E2-4318-B990-3A39797EEF7B}" type="presOf" srcId="{6C7A60B4-19E1-4DE0-91D3-C24DF371EE8E}" destId="{AE82EDA1-0D10-4921-8753-4A5FA336EBDE}" srcOrd="0" destOrd="0" presId="urn:microsoft.com/office/officeart/2005/8/layout/default"/>
    <dgm:cxn modelId="{6C1C0BE3-5A8D-46AE-8AFA-3ADE3289C738}" type="presOf" srcId="{1F8F2CFD-DFDC-48CE-A87E-E8E3787EE331}" destId="{F89CDF17-0188-4BAE-BAF6-FAF491C762C3}" srcOrd="0" destOrd="0" presId="urn:microsoft.com/office/officeart/2005/8/layout/default"/>
    <dgm:cxn modelId="{A815FCF6-8285-49E5-84F1-F09B8BE58DCD}" srcId="{230DD40C-42E7-438F-8D33-8B84D258C456}" destId="{CFBCB5D7-A89F-4EAE-9CCA-D0873B3457EF}" srcOrd="1" destOrd="0" parTransId="{F1FB184B-E8B1-4D40-9942-703F48069C00}" sibTransId="{5429B209-7C99-4EEF-A1B7-9E08E3B6F32E}"/>
    <dgm:cxn modelId="{783A8557-4522-466A-A250-D975DF4E2C60}" type="presParOf" srcId="{FE411821-2334-495E-9897-529CEBFB6E75}" destId="{E166638F-31B5-4DB7-BAA8-947F26D9D05D}" srcOrd="0" destOrd="0" presId="urn:microsoft.com/office/officeart/2005/8/layout/default"/>
    <dgm:cxn modelId="{7D017AB8-0323-4D48-9EA7-4B41AE6DA9EB}" type="presParOf" srcId="{FE411821-2334-495E-9897-529CEBFB6E75}" destId="{974E3002-EF14-4805-8BAD-A747BEACE557}" srcOrd="1" destOrd="0" presId="urn:microsoft.com/office/officeart/2005/8/layout/default"/>
    <dgm:cxn modelId="{264F767D-03A3-4469-9DF8-8418EEB13E2F}" type="presParOf" srcId="{FE411821-2334-495E-9897-529CEBFB6E75}" destId="{4502A364-B240-4CF1-8D8D-E71E1B6DB3AE}" srcOrd="2" destOrd="0" presId="urn:microsoft.com/office/officeart/2005/8/layout/default"/>
    <dgm:cxn modelId="{A5B0546D-8456-4A96-94A1-F51D7F3C2180}" type="presParOf" srcId="{FE411821-2334-495E-9897-529CEBFB6E75}" destId="{B303CB01-904E-486D-8172-F806C1001C67}" srcOrd="3" destOrd="0" presId="urn:microsoft.com/office/officeart/2005/8/layout/default"/>
    <dgm:cxn modelId="{EF312F23-DD41-4B94-BAA8-7A76F2FE9FED}" type="presParOf" srcId="{FE411821-2334-495E-9897-529CEBFB6E75}" destId="{2DD4A764-76EC-400D-8EA9-3CA012056F56}" srcOrd="4" destOrd="0" presId="urn:microsoft.com/office/officeart/2005/8/layout/default"/>
    <dgm:cxn modelId="{11248CD4-6DD1-4FC4-A57D-198B74F5A6A4}" type="presParOf" srcId="{FE411821-2334-495E-9897-529CEBFB6E75}" destId="{3927B773-19EE-4C35-8B81-AE22128A3F8D}" srcOrd="5" destOrd="0" presId="urn:microsoft.com/office/officeart/2005/8/layout/default"/>
    <dgm:cxn modelId="{C89FBAD8-A897-424F-A080-43617399F3EA}" type="presParOf" srcId="{FE411821-2334-495E-9897-529CEBFB6E75}" destId="{522A6988-26E7-4D18-A4A6-65BA1B2996CA}" srcOrd="6" destOrd="0" presId="urn:microsoft.com/office/officeart/2005/8/layout/default"/>
    <dgm:cxn modelId="{D911621F-547F-4333-9B7E-CF0A47DAC436}" type="presParOf" srcId="{FE411821-2334-495E-9897-529CEBFB6E75}" destId="{591DDBA8-A660-4216-AA7C-FC0E480B42D8}" srcOrd="7" destOrd="0" presId="urn:microsoft.com/office/officeart/2005/8/layout/default"/>
    <dgm:cxn modelId="{F581D426-B347-482F-9435-F83A0893EF1B}" type="presParOf" srcId="{FE411821-2334-495E-9897-529CEBFB6E75}" destId="{AE82EDA1-0D10-4921-8753-4A5FA336EBDE}" srcOrd="8" destOrd="0" presId="urn:microsoft.com/office/officeart/2005/8/layout/default"/>
    <dgm:cxn modelId="{BE250828-C3A9-4553-A142-80B5A9B5ED8E}" type="presParOf" srcId="{FE411821-2334-495E-9897-529CEBFB6E75}" destId="{1758B809-1CF8-4C5A-B0E6-1C405947E2B2}" srcOrd="9" destOrd="0" presId="urn:microsoft.com/office/officeart/2005/8/layout/default"/>
    <dgm:cxn modelId="{659E7BE1-4DF5-47C9-B0BB-C9E5A4D6DC92}" type="presParOf" srcId="{FE411821-2334-495E-9897-529CEBFB6E75}" destId="{BACAEEA2-8348-4EF8-AD73-B6D8A0E490D4}" srcOrd="10" destOrd="0" presId="urn:microsoft.com/office/officeart/2005/8/layout/default"/>
    <dgm:cxn modelId="{5F9F5F01-A3CC-49E2-B43D-47BFAC2896B9}" type="presParOf" srcId="{FE411821-2334-495E-9897-529CEBFB6E75}" destId="{46CF9EEB-277F-447C-8B15-F2A2F6C2196A}" srcOrd="11" destOrd="0" presId="urn:microsoft.com/office/officeart/2005/8/layout/default"/>
    <dgm:cxn modelId="{AF942659-8C2A-487D-A864-F7B76A55EF32}" type="presParOf" srcId="{FE411821-2334-495E-9897-529CEBFB6E75}" destId="{A6747379-BA89-493D-BB65-DE4E1DEF6DC4}" srcOrd="12" destOrd="0" presId="urn:microsoft.com/office/officeart/2005/8/layout/default"/>
    <dgm:cxn modelId="{DE799E93-C447-4C46-B9A6-F750B6336AD7}" type="presParOf" srcId="{FE411821-2334-495E-9897-529CEBFB6E75}" destId="{C8363FE0-80EE-40E1-97C4-97207D96AA73}" srcOrd="13" destOrd="0" presId="urn:microsoft.com/office/officeart/2005/8/layout/default"/>
    <dgm:cxn modelId="{C96A4806-E0DC-4783-A505-668B5A739A1D}" type="presParOf" srcId="{FE411821-2334-495E-9897-529CEBFB6E75}" destId="{D071E8A6-B8EB-470D-A822-3AAB47377F73}" srcOrd="14" destOrd="0" presId="urn:microsoft.com/office/officeart/2005/8/layout/default"/>
    <dgm:cxn modelId="{732CDBEB-42FD-45AA-B429-51074BA56023}" type="presParOf" srcId="{FE411821-2334-495E-9897-529CEBFB6E75}" destId="{8D88DDE9-BC52-4A04-BE36-F54C04FD6E2A}" srcOrd="15" destOrd="0" presId="urn:microsoft.com/office/officeart/2005/8/layout/default"/>
    <dgm:cxn modelId="{DDC85008-3FC2-4045-9B1F-3F24AB1AB36D}" type="presParOf" srcId="{FE411821-2334-495E-9897-529CEBFB6E75}" destId="{F89CDF17-0188-4BAE-BAF6-FAF491C762C3}" srcOrd="16" destOrd="0" presId="urn:microsoft.com/office/officeart/2005/8/layout/default"/>
    <dgm:cxn modelId="{02973E46-5F97-4766-B79D-6A43329BBD56}" type="presParOf" srcId="{FE411821-2334-495E-9897-529CEBFB6E75}" destId="{139E6EDA-3194-4E9C-A3F9-0508BA28AFFF}" srcOrd="17" destOrd="0" presId="urn:microsoft.com/office/officeart/2005/8/layout/default"/>
    <dgm:cxn modelId="{D3692383-F760-410F-B14D-95BFFAE8A6F3}" type="presParOf" srcId="{FE411821-2334-495E-9897-529CEBFB6E75}" destId="{A87ACCDA-85D1-48FC-935D-8A906BE610CD}" srcOrd="18" destOrd="0" presId="urn:microsoft.com/office/officeart/2005/8/layout/default"/>
    <dgm:cxn modelId="{53718922-D1C5-450E-AFC5-2386F1C35041}" type="presParOf" srcId="{FE411821-2334-495E-9897-529CEBFB6E75}" destId="{F5A1ABD5-2D20-4061-9DDC-E259FA4FAE75}" srcOrd="19" destOrd="0" presId="urn:microsoft.com/office/officeart/2005/8/layout/default"/>
    <dgm:cxn modelId="{D32BA8A2-79FC-4940-B486-D3655352B33A}" type="presParOf" srcId="{FE411821-2334-495E-9897-529CEBFB6E75}" destId="{05A9D28C-4621-4C9A-B904-1F18E81B4F84}" srcOrd="20" destOrd="0" presId="urn:microsoft.com/office/officeart/2005/8/layout/default"/>
    <dgm:cxn modelId="{C166379F-E44E-4B44-9AD3-E141C39A9E09}" type="presParOf" srcId="{FE411821-2334-495E-9897-529CEBFB6E75}" destId="{0F83B401-0221-45CE-A0AD-743A4E875B02}" srcOrd="21" destOrd="0" presId="urn:microsoft.com/office/officeart/2005/8/layout/default"/>
    <dgm:cxn modelId="{B71BA773-3679-411E-8CD5-E7A8CB030CAF}" type="presParOf" srcId="{FE411821-2334-495E-9897-529CEBFB6E75}" destId="{6B63EFA7-DB1F-48EA-BE69-80F482E240DD}" srcOrd="2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66638F-31B5-4DB7-BAA8-947F26D9D05D}">
      <dsp:nvSpPr>
        <dsp:cNvPr id="0" name=""/>
        <dsp:cNvSpPr/>
      </dsp:nvSpPr>
      <dsp:spPr>
        <a:xfrm>
          <a:off x="625256" y="1984"/>
          <a:ext cx="2260996" cy="1356598"/>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latin typeface="Calibri"/>
            </a:rPr>
            <a:t>Endocrinology</a:t>
          </a:r>
          <a:endParaRPr lang="en-US" sz="1700" kern="1200"/>
        </a:p>
      </dsp:txBody>
      <dsp:txXfrm>
        <a:off x="625256" y="1984"/>
        <a:ext cx="2260996" cy="1356598"/>
      </dsp:txXfrm>
    </dsp:sp>
    <dsp:sp modelId="{4502A364-B240-4CF1-8D8D-E71E1B6DB3AE}">
      <dsp:nvSpPr>
        <dsp:cNvPr id="0" name=""/>
        <dsp:cNvSpPr/>
      </dsp:nvSpPr>
      <dsp:spPr>
        <a:xfrm>
          <a:off x="3112353" y="1984"/>
          <a:ext cx="2260996" cy="1356598"/>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rtl="0">
            <a:lnSpc>
              <a:spcPct val="90000"/>
            </a:lnSpc>
            <a:spcBef>
              <a:spcPct val="0"/>
            </a:spcBef>
            <a:spcAft>
              <a:spcPct val="35000"/>
            </a:spcAft>
            <a:buNone/>
          </a:pPr>
          <a:r>
            <a:rPr lang="en-US" sz="1700" kern="1200">
              <a:latin typeface="Calibri"/>
            </a:rPr>
            <a:t>Speech and Language</a:t>
          </a:r>
          <a:endParaRPr lang="en-US" sz="1700" kern="1200"/>
        </a:p>
      </dsp:txBody>
      <dsp:txXfrm>
        <a:off x="3112353" y="1984"/>
        <a:ext cx="2260996" cy="1356598"/>
      </dsp:txXfrm>
    </dsp:sp>
    <dsp:sp modelId="{2DD4A764-76EC-400D-8EA9-3CA012056F56}">
      <dsp:nvSpPr>
        <dsp:cNvPr id="0" name=""/>
        <dsp:cNvSpPr/>
      </dsp:nvSpPr>
      <dsp:spPr>
        <a:xfrm>
          <a:off x="5599449" y="1984"/>
          <a:ext cx="2260996" cy="1356598"/>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latin typeface="Calibri"/>
            </a:rPr>
            <a:t>Prosthetics</a:t>
          </a:r>
          <a:endParaRPr lang="en-US" sz="1700" kern="1200"/>
        </a:p>
      </dsp:txBody>
      <dsp:txXfrm>
        <a:off x="5599449" y="1984"/>
        <a:ext cx="2260996" cy="1356598"/>
      </dsp:txXfrm>
    </dsp:sp>
    <dsp:sp modelId="{522A6988-26E7-4D18-A4A6-65BA1B2996CA}">
      <dsp:nvSpPr>
        <dsp:cNvPr id="0" name=""/>
        <dsp:cNvSpPr/>
      </dsp:nvSpPr>
      <dsp:spPr>
        <a:xfrm>
          <a:off x="8086546" y="1984"/>
          <a:ext cx="2260996" cy="1356598"/>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latin typeface="Calibri"/>
            </a:rPr>
            <a:t>Fertility</a:t>
          </a:r>
          <a:endParaRPr lang="en-US" sz="1700" kern="1200"/>
        </a:p>
      </dsp:txBody>
      <dsp:txXfrm>
        <a:off x="8086546" y="1984"/>
        <a:ext cx="2260996" cy="1356598"/>
      </dsp:txXfrm>
    </dsp:sp>
    <dsp:sp modelId="{AE82EDA1-0D10-4921-8753-4A5FA336EBDE}">
      <dsp:nvSpPr>
        <dsp:cNvPr id="0" name=""/>
        <dsp:cNvSpPr/>
      </dsp:nvSpPr>
      <dsp:spPr>
        <a:xfrm>
          <a:off x="625256" y="1584682"/>
          <a:ext cx="2260996" cy="1356598"/>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rtl="0">
            <a:lnSpc>
              <a:spcPct val="90000"/>
            </a:lnSpc>
            <a:spcBef>
              <a:spcPct val="0"/>
            </a:spcBef>
            <a:spcAft>
              <a:spcPct val="35000"/>
            </a:spcAft>
            <a:buNone/>
          </a:pPr>
          <a:r>
            <a:rPr lang="en-US" sz="1700" kern="1200">
              <a:latin typeface="Calibri"/>
            </a:rPr>
            <a:t>Pre- and Post-Surgical Care</a:t>
          </a:r>
          <a:endParaRPr lang="en-US" sz="1700" kern="1200"/>
        </a:p>
      </dsp:txBody>
      <dsp:txXfrm>
        <a:off x="625256" y="1584682"/>
        <a:ext cx="2260996" cy="1356598"/>
      </dsp:txXfrm>
    </dsp:sp>
    <dsp:sp modelId="{BACAEEA2-8348-4EF8-AD73-B6D8A0E490D4}">
      <dsp:nvSpPr>
        <dsp:cNvPr id="0" name=""/>
        <dsp:cNvSpPr/>
      </dsp:nvSpPr>
      <dsp:spPr>
        <a:xfrm>
          <a:off x="3112353" y="1584682"/>
          <a:ext cx="2260996" cy="1356598"/>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rtl="0">
            <a:lnSpc>
              <a:spcPct val="90000"/>
            </a:lnSpc>
            <a:spcBef>
              <a:spcPct val="0"/>
            </a:spcBef>
            <a:spcAft>
              <a:spcPct val="35000"/>
            </a:spcAft>
            <a:buNone/>
          </a:pPr>
          <a:r>
            <a:rPr lang="en-US" sz="1700" kern="1200">
              <a:latin typeface="Calibri"/>
              <a:hlinkClick xmlns:r="http://schemas.openxmlformats.org/officeDocument/2006/relationships" r:id="rId1"/>
            </a:rPr>
            <a:t>Enrollment/Registration (EMR changes for name and gender markers)</a:t>
          </a:r>
        </a:p>
      </dsp:txBody>
      <dsp:txXfrm>
        <a:off x="3112353" y="1584682"/>
        <a:ext cx="2260996" cy="1356598"/>
      </dsp:txXfrm>
    </dsp:sp>
    <dsp:sp modelId="{A6747379-BA89-493D-BB65-DE4E1DEF6DC4}">
      <dsp:nvSpPr>
        <dsp:cNvPr id="0" name=""/>
        <dsp:cNvSpPr/>
      </dsp:nvSpPr>
      <dsp:spPr>
        <a:xfrm>
          <a:off x="5599449" y="1584682"/>
          <a:ext cx="2260996" cy="1356598"/>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rtl="0">
            <a:lnSpc>
              <a:spcPct val="90000"/>
            </a:lnSpc>
            <a:spcBef>
              <a:spcPct val="0"/>
            </a:spcBef>
            <a:spcAft>
              <a:spcPct val="35000"/>
            </a:spcAft>
            <a:buNone/>
          </a:pPr>
          <a:r>
            <a:rPr lang="en-US" sz="1700" kern="1200">
              <a:latin typeface="Calibri"/>
            </a:rPr>
            <a:t>Laser Hair Removal</a:t>
          </a:r>
        </a:p>
      </dsp:txBody>
      <dsp:txXfrm>
        <a:off x="5599449" y="1584682"/>
        <a:ext cx="2260996" cy="1356598"/>
      </dsp:txXfrm>
    </dsp:sp>
    <dsp:sp modelId="{D071E8A6-B8EB-470D-A822-3AAB47377F73}">
      <dsp:nvSpPr>
        <dsp:cNvPr id="0" name=""/>
        <dsp:cNvSpPr/>
      </dsp:nvSpPr>
      <dsp:spPr>
        <a:xfrm>
          <a:off x="8086546" y="1584682"/>
          <a:ext cx="2260996" cy="1356598"/>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rtl="0">
            <a:lnSpc>
              <a:spcPct val="90000"/>
            </a:lnSpc>
            <a:spcBef>
              <a:spcPct val="0"/>
            </a:spcBef>
            <a:spcAft>
              <a:spcPct val="35000"/>
            </a:spcAft>
            <a:buNone/>
          </a:pPr>
          <a:r>
            <a:rPr lang="en-US" sz="1700" kern="1200">
              <a:latin typeface="Calibri"/>
            </a:rPr>
            <a:t>Support Groups</a:t>
          </a:r>
        </a:p>
      </dsp:txBody>
      <dsp:txXfrm>
        <a:off x="8086546" y="1584682"/>
        <a:ext cx="2260996" cy="1356598"/>
      </dsp:txXfrm>
    </dsp:sp>
    <dsp:sp modelId="{F89CDF17-0188-4BAE-BAF6-FAF491C762C3}">
      <dsp:nvSpPr>
        <dsp:cNvPr id="0" name=""/>
        <dsp:cNvSpPr/>
      </dsp:nvSpPr>
      <dsp:spPr>
        <a:xfrm>
          <a:off x="625256" y="3167380"/>
          <a:ext cx="2260996" cy="1356598"/>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rtl="0">
            <a:lnSpc>
              <a:spcPct val="90000"/>
            </a:lnSpc>
            <a:spcBef>
              <a:spcPct val="0"/>
            </a:spcBef>
            <a:spcAft>
              <a:spcPct val="35000"/>
            </a:spcAft>
            <a:buNone/>
          </a:pPr>
          <a:r>
            <a:rPr lang="en-US" sz="1700" kern="1200">
              <a:latin typeface="Calibri"/>
              <a:hlinkClick xmlns:r="http://schemas.openxmlformats.org/officeDocument/2006/relationships" r:id="rId2"/>
            </a:rPr>
            <a:t>LGBTQ+ Veteran Care Coordinator (VCC)</a:t>
          </a:r>
        </a:p>
      </dsp:txBody>
      <dsp:txXfrm>
        <a:off x="625256" y="3167380"/>
        <a:ext cx="2260996" cy="1356598"/>
      </dsp:txXfrm>
    </dsp:sp>
    <dsp:sp modelId="{A87ACCDA-85D1-48FC-935D-8A906BE610CD}">
      <dsp:nvSpPr>
        <dsp:cNvPr id="0" name=""/>
        <dsp:cNvSpPr/>
      </dsp:nvSpPr>
      <dsp:spPr>
        <a:xfrm>
          <a:off x="3112353" y="3167380"/>
          <a:ext cx="2260996" cy="1356598"/>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rtl="0">
            <a:lnSpc>
              <a:spcPct val="90000"/>
            </a:lnSpc>
            <a:spcBef>
              <a:spcPct val="0"/>
            </a:spcBef>
            <a:spcAft>
              <a:spcPct val="35000"/>
            </a:spcAft>
            <a:buNone/>
          </a:pPr>
          <a:r>
            <a:rPr lang="en-US" sz="1700" kern="1200">
              <a:latin typeface="Calibri"/>
              <a:hlinkClick xmlns:r="http://schemas.openxmlformats.org/officeDocument/2006/relationships" r:id="rId3"/>
            </a:rPr>
            <a:t>PrEP/HIV Treatment and Prevention</a:t>
          </a:r>
        </a:p>
      </dsp:txBody>
      <dsp:txXfrm>
        <a:off x="3112353" y="3167380"/>
        <a:ext cx="2260996" cy="1356598"/>
      </dsp:txXfrm>
    </dsp:sp>
    <dsp:sp modelId="{05A9D28C-4621-4C9A-B904-1F18E81B4F84}">
      <dsp:nvSpPr>
        <dsp:cNvPr id="0" name=""/>
        <dsp:cNvSpPr/>
      </dsp:nvSpPr>
      <dsp:spPr>
        <a:xfrm>
          <a:off x="5599449" y="3167380"/>
          <a:ext cx="2260996" cy="1356598"/>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rtl="0">
            <a:lnSpc>
              <a:spcPct val="90000"/>
            </a:lnSpc>
            <a:spcBef>
              <a:spcPct val="0"/>
            </a:spcBef>
            <a:spcAft>
              <a:spcPct val="35000"/>
            </a:spcAft>
            <a:buNone/>
          </a:pPr>
          <a:r>
            <a:rPr lang="en-US" sz="1700" kern="1200">
              <a:latin typeface="Calibri"/>
              <a:hlinkClick xmlns:r="http://schemas.openxmlformats.org/officeDocument/2006/relationships" r:id="rId4"/>
            </a:rPr>
            <a:t>VHA Directives 1340 and 1341</a:t>
          </a:r>
        </a:p>
      </dsp:txBody>
      <dsp:txXfrm>
        <a:off x="5599449" y="3167380"/>
        <a:ext cx="2260996" cy="1356598"/>
      </dsp:txXfrm>
    </dsp:sp>
    <dsp:sp modelId="{6B63EFA7-DB1F-48EA-BE69-80F482E240DD}">
      <dsp:nvSpPr>
        <dsp:cNvPr id="0" name=""/>
        <dsp:cNvSpPr/>
      </dsp:nvSpPr>
      <dsp:spPr>
        <a:xfrm>
          <a:off x="8086546" y="3167380"/>
          <a:ext cx="2260996" cy="1356598"/>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rtl="0">
            <a:lnSpc>
              <a:spcPct val="90000"/>
            </a:lnSpc>
            <a:spcBef>
              <a:spcPct val="0"/>
            </a:spcBef>
            <a:spcAft>
              <a:spcPct val="35000"/>
            </a:spcAft>
            <a:buNone/>
          </a:pPr>
          <a:r>
            <a:rPr lang="en-US" sz="1700" kern="1200">
              <a:latin typeface="Calibri"/>
              <a:hlinkClick xmlns:r="http://schemas.openxmlformats.org/officeDocument/2006/relationships" r:id="rId5"/>
            </a:rPr>
            <a:t>Resource for Providers: Gender-Affirming Care at VA</a:t>
          </a:r>
        </a:p>
      </dsp:txBody>
      <dsp:txXfrm>
        <a:off x="8086546" y="3167380"/>
        <a:ext cx="2260996" cy="1356598"/>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CA59FDE-09C1-4360-A235-05E6B2D74790}" type="datetimeFigureOut">
              <a:t>10/1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70AF98E-46AD-45F9-B6EF-E5C520E7A6F9}" type="slidenum">
              <a:t>‹#›</a:t>
            </a:fld>
            <a:endParaRPr lang="en-US"/>
          </a:p>
        </p:txBody>
      </p:sp>
    </p:spTree>
    <p:extLst>
      <p:ext uri="{BB962C8B-B14F-4D97-AF65-F5344CB8AC3E}">
        <p14:creationId xmlns:p14="http://schemas.microsoft.com/office/powerpoint/2010/main" val="42257781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8" Type="http://schemas.openxmlformats.org/officeDocument/2006/relationships/hyperlink" Target="https://transequality.org/sites/default/files/docs/usts/USTS-Full-Report-Dec17.pdf" TargetMode="External"/><Relationship Id="rId3" Type="http://schemas.openxmlformats.org/officeDocument/2006/relationships/hyperlink" Target="https://doi.org/10.1186/s12889-015-1867-2" TargetMode="External"/><Relationship Id="rId7" Type="http://schemas.openxmlformats.org/officeDocument/2006/relationships/hyperlink" Target="https://doi.org/10.1016/j.amepre.2018.04.045" TargetMode="External"/><Relationship Id="rId2" Type="http://schemas.openxmlformats.org/officeDocument/2006/relationships/slide" Target="../slides/slide12.xml"/><Relationship Id="rId1" Type="http://schemas.openxmlformats.org/officeDocument/2006/relationships/notesMaster" Target="../notesMasters/notesMaster1.xml"/><Relationship Id="rId6" Type="http://schemas.openxmlformats.org/officeDocument/2006/relationships/hyperlink" Target="https://doi.org/10.1080/26895269.2022.2100644" TargetMode="External"/><Relationship Id="rId11" Type="http://schemas.openxmlformats.org/officeDocument/2006/relationships/hyperlink" Target="https://www.mentalhealth.va.gov/docs/data-sheets/2021/2021-National-Veteran-Suicide-Prevention-Annual-Report-FINAL-9-8-21.pdf" TargetMode="External"/><Relationship Id="rId5" Type="http://schemas.openxmlformats.org/officeDocument/2006/relationships/hyperlink" Target="https://doi.org/10.1037/ser0000433" TargetMode="External"/><Relationship Id="rId10" Type="http://schemas.openxmlformats.org/officeDocument/2006/relationships/hyperlink" Target="https://doi.org/10.1542/peds.2019-1725" TargetMode="External"/><Relationship Id="rId4" Type="http://schemas.openxmlformats.org/officeDocument/2006/relationships/hyperlink" Target="https://doi.org/10.2105/AJPH.2020.305978" TargetMode="External"/><Relationship Id="rId9" Type="http://schemas.openxmlformats.org/officeDocument/2006/relationships/hyperlink" Target="https://doi.org/10.1080/19317611.2011.639440"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oi.org/10.2105/AJPH.2020.305978" TargetMode="External"/><Relationship Id="rId7" Type="http://schemas.openxmlformats.org/officeDocument/2006/relationships/hyperlink" Target="https://www.mentalhealth.va.gov/docs/data-sheets/2021/2021-National-Veteran-Suicide-Prevention-Annual-Report-FINAL-9-8-21.pdf"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www.va.gov/HEALTHEQUITY/index.asp" TargetMode="External"/><Relationship Id="rId5" Type="http://schemas.openxmlformats.org/officeDocument/2006/relationships/hyperlink" Target="https://www.lgbtqiahealtheducation.org/" TargetMode="External"/><Relationship Id="rId4" Type="http://schemas.openxmlformats.org/officeDocument/2006/relationships/hyperlink" Target="https://doi.org/10.1080/19359705.2018.1524538"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cs typeface="Calibri"/>
            </a:endParaRPr>
          </a:p>
        </p:txBody>
      </p:sp>
      <p:sp>
        <p:nvSpPr>
          <p:cNvPr id="4" name="Slide Number Placeholder 3"/>
          <p:cNvSpPr>
            <a:spLocks noGrp="1"/>
          </p:cNvSpPr>
          <p:nvPr>
            <p:ph type="sldNum" sz="quarter" idx="5"/>
          </p:nvPr>
        </p:nvSpPr>
        <p:spPr/>
        <p:txBody>
          <a:bodyPr/>
          <a:lstStyle/>
          <a:p>
            <a:fld id="{4338FC4F-C918-4AE0-8CE7-87A97F23411B}" type="slidenum">
              <a:rPr lang="en-US" smtClean="0"/>
              <a:t>1</a:t>
            </a:fld>
            <a:endParaRPr lang="en-US"/>
          </a:p>
        </p:txBody>
      </p:sp>
    </p:spTree>
    <p:extLst>
      <p:ext uri="{BB962C8B-B14F-4D97-AF65-F5344CB8AC3E}">
        <p14:creationId xmlns:p14="http://schemas.microsoft.com/office/powerpoint/2010/main" val="15737688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D70AF98E-46AD-45F9-B6EF-E5C520E7A6F9}" type="slidenum">
              <a:rPr lang="en-US"/>
              <a:t>10</a:t>
            </a:fld>
            <a:endParaRPr lang="en-US"/>
          </a:p>
        </p:txBody>
      </p:sp>
    </p:spTree>
    <p:extLst>
      <p:ext uri="{BB962C8B-B14F-4D97-AF65-F5344CB8AC3E}">
        <p14:creationId xmlns:p14="http://schemas.microsoft.com/office/powerpoint/2010/main" val="28314369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D70AF98E-46AD-45F9-B6EF-E5C520E7A6F9}" type="slidenum">
              <a:rPr lang="en-US"/>
              <a:t>11</a:t>
            </a:fld>
            <a:endParaRPr lang="en-US"/>
          </a:p>
        </p:txBody>
      </p:sp>
    </p:spTree>
    <p:extLst>
      <p:ext uri="{BB962C8B-B14F-4D97-AF65-F5344CB8AC3E}">
        <p14:creationId xmlns:p14="http://schemas.microsoft.com/office/powerpoint/2010/main" val="1398984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PA References:</a:t>
            </a:r>
            <a:endParaRPr lang="en-US" dirty="0">
              <a:cs typeface="Calibri" panose="020F0502020204030204"/>
            </a:endParaRPr>
          </a:p>
          <a:p>
            <a:pPr marL="171450" indent="-171450">
              <a:buFont typeface="Arial"/>
              <a:buChar char="•"/>
            </a:pPr>
            <a:r>
              <a:rPr lang="en-US" dirty="0"/>
              <a:t>Bauer, G. R., </a:t>
            </a:r>
            <a:r>
              <a:rPr lang="en-US" dirty="0" err="1"/>
              <a:t>Scheim</a:t>
            </a:r>
            <a:r>
              <a:rPr lang="en-US" dirty="0"/>
              <a:t>, A. I., Pyne, J., Travers, R., &amp; Hammond, R. (2015). Intervenable factors associated with suicide risk in transgender persons: A respondent-driven sampling study in Ontario, Canada. </a:t>
            </a:r>
            <a:r>
              <a:rPr lang="en-US" i="1" dirty="0"/>
              <a:t>BMC Public Health, 15</a:t>
            </a:r>
            <a:r>
              <a:rPr lang="en-US" dirty="0"/>
              <a:t>(525), 1-15. </a:t>
            </a:r>
            <a:r>
              <a:rPr lang="en-US" dirty="0">
                <a:hlinkClick r:id="rId3"/>
              </a:rPr>
              <a:t>https://doi.org/10.1186/s12889-015-1867-2</a:t>
            </a:r>
            <a:endParaRPr lang="en-US" dirty="0"/>
          </a:p>
          <a:p>
            <a:pPr marL="171450" indent="-171450">
              <a:buFont typeface="Arial"/>
              <a:buChar char="•"/>
            </a:pPr>
            <a:r>
              <a:rPr lang="en-US" dirty="0" err="1"/>
              <a:t>Blosnich</a:t>
            </a:r>
            <a:r>
              <a:rPr lang="en-US" dirty="0"/>
              <a:t>, J. R., Marsiglio, M. C., Gao, S., Gordon, A. J., </a:t>
            </a:r>
            <a:r>
              <a:rPr lang="en-US" dirty="0" err="1"/>
              <a:t>Shipherd</a:t>
            </a:r>
            <a:r>
              <a:rPr lang="en-US" dirty="0"/>
              <a:t>, J. C., Kauth, M. R., &amp; Fine, M. J. (2021). Mental health of transgender Veterans in US states with and without nondiscrimination and anti-bullying policies. </a:t>
            </a:r>
            <a:r>
              <a:rPr lang="en-US" i="1" dirty="0"/>
              <a:t>American Journal of Public Health, 111</a:t>
            </a:r>
            <a:r>
              <a:rPr lang="en-US" dirty="0"/>
              <a:t>(2), 263–269. </a:t>
            </a:r>
            <a:r>
              <a:rPr lang="en-US" dirty="0">
                <a:hlinkClick r:id="rId4"/>
              </a:rPr>
              <a:t>https://doi.org/10.2105/AJPH.2020.305978</a:t>
            </a:r>
            <a:endParaRPr lang="en-US" dirty="0"/>
          </a:p>
          <a:p>
            <a:pPr marL="171450" indent="-171450">
              <a:buFont typeface="Arial"/>
              <a:buChar char="•"/>
            </a:pPr>
            <a:r>
              <a:rPr lang="en-US" dirty="0"/>
              <a:t>Cantu, N. A., Robertson, M., Lane, E., &amp; </a:t>
            </a:r>
            <a:r>
              <a:rPr lang="en-US" dirty="0" err="1"/>
              <a:t>Shipherd</a:t>
            </a:r>
            <a:r>
              <a:rPr lang="en-US" dirty="0"/>
              <a:t>, J. C. (2021). Mental health among transgender Veterans: The role of gender-affirming care. </a:t>
            </a:r>
            <a:r>
              <a:rPr lang="en-US" i="1" dirty="0"/>
              <a:t>Psychological Services, 18</a:t>
            </a:r>
            <a:r>
              <a:rPr lang="en-US" dirty="0"/>
              <a:t>(2), 208-216. </a:t>
            </a:r>
            <a:r>
              <a:rPr lang="en-US" dirty="0">
                <a:hlinkClick r:id="rId5"/>
              </a:rPr>
              <a:t>https://doi.org/10.1037/ser0000433</a:t>
            </a:r>
            <a:endParaRPr lang="en-US" dirty="0"/>
          </a:p>
          <a:p>
            <a:pPr marL="171450" indent="-171450">
              <a:buFont typeface="Arial"/>
              <a:buChar char="•"/>
            </a:pPr>
            <a:r>
              <a:rPr lang="en-US" dirty="0"/>
              <a:t>Coleman, E., Radix, A. E., Bouman, W. P., Brown, G. R., de Vries, A. L. C., Deutsch, M. B., ... &amp; Winter, S. (2022). Standards of care for the health of transgender and gender diverse people, version 8. </a:t>
            </a:r>
            <a:r>
              <a:rPr lang="en-US" i="1" dirty="0"/>
              <a:t>International Journal of Transgender Health, 23</a:t>
            </a:r>
            <a:r>
              <a:rPr lang="en-US" dirty="0"/>
              <a:t>(S1), S1-S259. </a:t>
            </a:r>
            <a:r>
              <a:rPr lang="en-US" dirty="0">
                <a:hlinkClick r:id="rId6"/>
              </a:rPr>
              <a:t>https://doi.org/10.1080/26895269.2022.2100644</a:t>
            </a:r>
            <a:endParaRPr lang="en-US" dirty="0"/>
          </a:p>
          <a:p>
            <a:pPr marL="171450" indent="-171450">
              <a:buFont typeface="Arial"/>
              <a:buChar char="•"/>
            </a:pPr>
            <a:r>
              <a:rPr lang="en-US" dirty="0"/>
              <a:t>Downing, J. M., &amp; </a:t>
            </a:r>
            <a:r>
              <a:rPr lang="en-US" dirty="0" err="1"/>
              <a:t>Przedworski</a:t>
            </a:r>
            <a:r>
              <a:rPr lang="en-US" dirty="0"/>
              <a:t>, J. M. (2018). Health of transgender adults in the U.S., 2014–2016. </a:t>
            </a:r>
            <a:r>
              <a:rPr lang="en-US" i="1" dirty="0"/>
              <a:t>American Journal of Preventive Medicine, 55</a:t>
            </a:r>
            <a:r>
              <a:rPr lang="en-US" dirty="0"/>
              <a:t>(3), 336–344. </a:t>
            </a:r>
            <a:r>
              <a:rPr lang="en-US" dirty="0">
                <a:hlinkClick r:id="rId7"/>
              </a:rPr>
              <a:t>https://doi.org/10.1016/j.amepre.2018.04.045</a:t>
            </a:r>
            <a:endParaRPr lang="en-US" dirty="0"/>
          </a:p>
          <a:p>
            <a:pPr marL="171450" indent="-171450">
              <a:buFont typeface="Arial"/>
              <a:buChar char="•"/>
            </a:pPr>
            <a:r>
              <a:rPr lang="en-US" dirty="0"/>
              <a:t>James, S. E., Herman, J. L., Rankin, S., Keisling, M., Mottet, L., &amp; Anafi, M. (2016). The report of the 2015 U.S. transgender survey. </a:t>
            </a:r>
            <a:r>
              <a:rPr lang="en-US" i="1" dirty="0"/>
              <a:t>National Center for Transgender Equality</a:t>
            </a:r>
            <a:r>
              <a:rPr lang="en-US" dirty="0"/>
              <a:t>. </a:t>
            </a:r>
            <a:r>
              <a:rPr lang="en-US" dirty="0">
                <a:hlinkClick r:id="rId8"/>
              </a:rPr>
              <a:t>https://transequality.org/sites/default/files/docs/usts/USTS-Full-Report-Dec17.pdf</a:t>
            </a:r>
            <a:endParaRPr lang="en-US" dirty="0"/>
          </a:p>
          <a:p>
            <a:pPr marL="171450" indent="-171450">
              <a:buFont typeface="Arial"/>
              <a:buChar char="•"/>
            </a:pPr>
            <a:r>
              <a:rPr lang="en-US" dirty="0" err="1"/>
              <a:t>Shipherd</a:t>
            </a:r>
            <a:r>
              <a:rPr lang="en-US" dirty="0"/>
              <a:t>, J. C., </a:t>
            </a:r>
            <a:r>
              <a:rPr lang="en-US" dirty="0" err="1"/>
              <a:t>Mizock</a:t>
            </a:r>
            <a:r>
              <a:rPr lang="en-US" dirty="0"/>
              <a:t>, L., </a:t>
            </a:r>
            <a:r>
              <a:rPr lang="en-US" dirty="0" err="1"/>
              <a:t>Maguen</a:t>
            </a:r>
            <a:r>
              <a:rPr lang="en-US" dirty="0"/>
              <a:t>, S., &amp; Green, K. E. (2012). Male-to-female transgender Veterans and VA health care utilization. </a:t>
            </a:r>
            <a:r>
              <a:rPr lang="en-US" i="1" dirty="0"/>
              <a:t>International Journal of Sexual Health, 24</a:t>
            </a:r>
            <a:r>
              <a:rPr lang="en-US" dirty="0"/>
              <a:t>(1), 78-87. </a:t>
            </a:r>
            <a:r>
              <a:rPr lang="en-US" dirty="0">
                <a:hlinkClick r:id="rId9"/>
              </a:rPr>
              <a:t>https://doi.org/10.1080/19317611.2011.639440</a:t>
            </a:r>
            <a:endParaRPr lang="en-US" dirty="0"/>
          </a:p>
          <a:p>
            <a:pPr marL="171450" indent="-171450">
              <a:buFont typeface="Arial"/>
              <a:buChar char="•"/>
            </a:pPr>
            <a:r>
              <a:rPr lang="en-US" dirty="0"/>
              <a:t>Turban, J. L., King, D., Carswell, J. M., &amp; </a:t>
            </a:r>
            <a:r>
              <a:rPr lang="en-US" dirty="0" err="1"/>
              <a:t>Keuroghlian</a:t>
            </a:r>
            <a:r>
              <a:rPr lang="en-US" dirty="0"/>
              <a:t>, A. S. (2020). Pubertal suppression for transgender youth and risk of suicidal ideation. </a:t>
            </a:r>
            <a:r>
              <a:rPr lang="en-US" i="1" dirty="0"/>
              <a:t>Pediatrics, 145</a:t>
            </a:r>
            <a:r>
              <a:rPr lang="en-US" dirty="0"/>
              <a:t>(2), e20191725. </a:t>
            </a:r>
            <a:r>
              <a:rPr lang="en-US" dirty="0">
                <a:hlinkClick r:id="rId10"/>
              </a:rPr>
              <a:t>https://doi.org/10.1542/peds.2019-1725</a:t>
            </a:r>
            <a:endParaRPr lang="en-US" dirty="0"/>
          </a:p>
          <a:p>
            <a:pPr marL="171450" indent="-171450">
              <a:buFont typeface="Arial"/>
              <a:buChar char="•"/>
            </a:pPr>
            <a:r>
              <a:rPr lang="en-US" dirty="0"/>
              <a:t>U.S. Department of Veterans Affairs. (2021). National Veteran suicide prevention annual report. </a:t>
            </a:r>
            <a:r>
              <a:rPr lang="en-US" dirty="0">
                <a:hlinkClick r:id="rId11"/>
              </a:rPr>
              <a:t>https://www.mentalhealth.va.gov/docs/data-sheets/2021/2021-National-Veteran-Suicide-Prevention-Annual-Report-FINAL-9-8-21.pdf</a:t>
            </a:r>
            <a:endParaRPr lang="en-US" dirty="0"/>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D70AF98E-46AD-45F9-B6EF-E5C520E7A6F9}" type="slidenum">
              <a:t>12</a:t>
            </a:fld>
            <a:endParaRPr lang="en-US"/>
          </a:p>
        </p:txBody>
      </p:sp>
    </p:spTree>
    <p:extLst>
      <p:ext uri="{BB962C8B-B14F-4D97-AF65-F5344CB8AC3E}">
        <p14:creationId xmlns:p14="http://schemas.microsoft.com/office/powerpoint/2010/main" val="40566776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cs typeface="Calibri"/>
            </a:endParaRPr>
          </a:p>
        </p:txBody>
      </p:sp>
      <p:sp>
        <p:nvSpPr>
          <p:cNvPr id="4" name="Slide Number Placeholder 3"/>
          <p:cNvSpPr>
            <a:spLocks noGrp="1"/>
          </p:cNvSpPr>
          <p:nvPr>
            <p:ph type="sldNum" sz="quarter" idx="5"/>
          </p:nvPr>
        </p:nvSpPr>
        <p:spPr/>
        <p:txBody>
          <a:bodyPr/>
          <a:lstStyle/>
          <a:p>
            <a:fld id="{D70AF98E-46AD-45F9-B6EF-E5C520E7A6F9}" type="slidenum">
              <a:t>13</a:t>
            </a:fld>
            <a:endParaRPr lang="en-US"/>
          </a:p>
        </p:txBody>
      </p:sp>
    </p:spTree>
    <p:extLst>
      <p:ext uri="{BB962C8B-B14F-4D97-AF65-F5344CB8AC3E}">
        <p14:creationId xmlns:p14="http://schemas.microsoft.com/office/powerpoint/2010/main" val="24263227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cs typeface="Calibri" panose="020F0502020204030204"/>
            </a:endParaRPr>
          </a:p>
        </p:txBody>
      </p:sp>
      <p:sp>
        <p:nvSpPr>
          <p:cNvPr id="4" name="Slide Number Placeholder 3"/>
          <p:cNvSpPr>
            <a:spLocks noGrp="1"/>
          </p:cNvSpPr>
          <p:nvPr>
            <p:ph type="sldNum" sz="quarter" idx="5"/>
          </p:nvPr>
        </p:nvSpPr>
        <p:spPr/>
        <p:txBody>
          <a:bodyPr/>
          <a:lstStyle/>
          <a:p>
            <a:fld id="{D70AF98E-46AD-45F9-B6EF-E5C520E7A6F9}" type="slidenum">
              <a:t>14</a:t>
            </a:fld>
            <a:endParaRPr lang="en-US"/>
          </a:p>
        </p:txBody>
      </p:sp>
    </p:spTree>
    <p:extLst>
      <p:ext uri="{BB962C8B-B14F-4D97-AF65-F5344CB8AC3E}">
        <p14:creationId xmlns:p14="http://schemas.microsoft.com/office/powerpoint/2010/main" val="4223335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cs typeface="Calibri"/>
            </a:endParaRPr>
          </a:p>
        </p:txBody>
      </p:sp>
      <p:sp>
        <p:nvSpPr>
          <p:cNvPr id="4" name="Slide Number Placeholder 3"/>
          <p:cNvSpPr>
            <a:spLocks noGrp="1"/>
          </p:cNvSpPr>
          <p:nvPr>
            <p:ph type="sldNum" sz="quarter" idx="5"/>
          </p:nvPr>
        </p:nvSpPr>
        <p:spPr/>
        <p:txBody>
          <a:bodyPr/>
          <a:lstStyle/>
          <a:p>
            <a:fld id="{D70AF98E-46AD-45F9-B6EF-E5C520E7A6F9}" type="slidenum">
              <a:t>15</a:t>
            </a:fld>
            <a:endParaRPr lang="en-US"/>
          </a:p>
        </p:txBody>
      </p:sp>
    </p:spTree>
    <p:extLst>
      <p:ext uri="{BB962C8B-B14F-4D97-AF65-F5344CB8AC3E}">
        <p14:creationId xmlns:p14="http://schemas.microsoft.com/office/powerpoint/2010/main" val="630914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D70AF98E-46AD-45F9-B6EF-E5C520E7A6F9}" type="slidenum">
              <a:rPr lang="en-US"/>
              <a:t>16</a:t>
            </a:fld>
            <a:endParaRPr lang="en-US"/>
          </a:p>
        </p:txBody>
      </p:sp>
    </p:spTree>
    <p:extLst>
      <p:ext uri="{BB962C8B-B14F-4D97-AF65-F5344CB8AC3E}">
        <p14:creationId xmlns:p14="http://schemas.microsoft.com/office/powerpoint/2010/main" val="37905967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D70AF98E-46AD-45F9-B6EF-E5C520E7A6F9}" type="slidenum">
              <a:rPr lang="en-US"/>
              <a:t>17</a:t>
            </a:fld>
            <a:endParaRPr lang="en-US"/>
          </a:p>
        </p:txBody>
      </p:sp>
    </p:spTree>
    <p:extLst>
      <p:ext uri="{BB962C8B-B14F-4D97-AF65-F5344CB8AC3E}">
        <p14:creationId xmlns:p14="http://schemas.microsoft.com/office/powerpoint/2010/main" val="28920911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800" dirty="0">
              <a:cs typeface="Calibri"/>
            </a:endParaRPr>
          </a:p>
        </p:txBody>
      </p:sp>
      <p:sp>
        <p:nvSpPr>
          <p:cNvPr id="4" name="Slide Number Placeholder 3"/>
          <p:cNvSpPr>
            <a:spLocks noGrp="1"/>
          </p:cNvSpPr>
          <p:nvPr>
            <p:ph type="sldNum" sz="quarter" idx="5"/>
          </p:nvPr>
        </p:nvSpPr>
        <p:spPr/>
        <p:txBody>
          <a:bodyPr/>
          <a:lstStyle/>
          <a:p>
            <a:fld id="{4338FC4F-C918-4AE0-8CE7-87A97F23411B}" type="slidenum">
              <a:rPr lang="en-US" smtClean="0"/>
              <a:t>18</a:t>
            </a:fld>
            <a:endParaRPr lang="en-US"/>
          </a:p>
        </p:txBody>
      </p:sp>
    </p:spTree>
    <p:extLst>
      <p:ext uri="{BB962C8B-B14F-4D97-AF65-F5344CB8AC3E}">
        <p14:creationId xmlns:p14="http://schemas.microsoft.com/office/powerpoint/2010/main" val="13030909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cs typeface="Calibri"/>
            </a:endParaRPr>
          </a:p>
        </p:txBody>
      </p:sp>
      <p:sp>
        <p:nvSpPr>
          <p:cNvPr id="4" name="Slide Number Placeholder 3"/>
          <p:cNvSpPr>
            <a:spLocks noGrp="1"/>
          </p:cNvSpPr>
          <p:nvPr>
            <p:ph type="sldNum" sz="quarter" idx="5"/>
          </p:nvPr>
        </p:nvSpPr>
        <p:spPr/>
        <p:txBody>
          <a:bodyPr/>
          <a:lstStyle/>
          <a:p>
            <a:fld id="{D70AF98E-46AD-45F9-B6EF-E5C520E7A6F9}" type="slidenum">
              <a:t>2</a:t>
            </a:fld>
            <a:endParaRPr lang="en-US"/>
          </a:p>
        </p:txBody>
      </p:sp>
    </p:spTree>
    <p:extLst>
      <p:ext uri="{BB962C8B-B14F-4D97-AF65-F5344CB8AC3E}">
        <p14:creationId xmlns:p14="http://schemas.microsoft.com/office/powerpoint/2010/main" val="33801411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cs typeface="Calibri"/>
            </a:endParaRPr>
          </a:p>
        </p:txBody>
      </p:sp>
      <p:sp>
        <p:nvSpPr>
          <p:cNvPr id="4" name="Slide Number Placeholder 3"/>
          <p:cNvSpPr>
            <a:spLocks noGrp="1"/>
          </p:cNvSpPr>
          <p:nvPr>
            <p:ph type="sldNum" sz="quarter" idx="5"/>
          </p:nvPr>
        </p:nvSpPr>
        <p:spPr/>
        <p:txBody>
          <a:bodyPr/>
          <a:lstStyle/>
          <a:p>
            <a:fld id="{4338FC4F-C918-4AE0-8CE7-87A97F23411B}" type="slidenum">
              <a:rPr lang="en-US" smtClean="0"/>
              <a:t>3</a:t>
            </a:fld>
            <a:endParaRPr lang="en-US"/>
          </a:p>
        </p:txBody>
      </p:sp>
    </p:spTree>
    <p:extLst>
      <p:ext uri="{BB962C8B-B14F-4D97-AF65-F5344CB8AC3E}">
        <p14:creationId xmlns:p14="http://schemas.microsoft.com/office/powerpoint/2010/main" val="12827804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cs typeface="Calibri"/>
            </a:endParaRPr>
          </a:p>
        </p:txBody>
      </p:sp>
      <p:sp>
        <p:nvSpPr>
          <p:cNvPr id="4" name="Slide Number Placeholder 3"/>
          <p:cNvSpPr>
            <a:spLocks noGrp="1"/>
          </p:cNvSpPr>
          <p:nvPr>
            <p:ph type="sldNum" sz="quarter" idx="5"/>
          </p:nvPr>
        </p:nvSpPr>
        <p:spPr/>
        <p:txBody>
          <a:bodyPr/>
          <a:lstStyle/>
          <a:p>
            <a:fld id="{D70AF98E-46AD-45F9-B6EF-E5C520E7A6F9}" type="slidenum">
              <a:t>4</a:t>
            </a:fld>
            <a:endParaRPr lang="en-US"/>
          </a:p>
        </p:txBody>
      </p:sp>
    </p:spTree>
    <p:extLst>
      <p:ext uri="{BB962C8B-B14F-4D97-AF65-F5344CB8AC3E}">
        <p14:creationId xmlns:p14="http://schemas.microsoft.com/office/powerpoint/2010/main" val="12558748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cs typeface="Calibri"/>
            </a:endParaRPr>
          </a:p>
        </p:txBody>
      </p:sp>
      <p:sp>
        <p:nvSpPr>
          <p:cNvPr id="4" name="Slide Number Placeholder 3"/>
          <p:cNvSpPr>
            <a:spLocks noGrp="1"/>
          </p:cNvSpPr>
          <p:nvPr>
            <p:ph type="sldNum" sz="quarter" idx="5"/>
          </p:nvPr>
        </p:nvSpPr>
        <p:spPr/>
        <p:txBody>
          <a:bodyPr/>
          <a:lstStyle/>
          <a:p>
            <a:fld id="{D70AF98E-46AD-45F9-B6EF-E5C520E7A6F9}" type="slidenum">
              <a:t>5</a:t>
            </a:fld>
            <a:endParaRPr lang="en-US"/>
          </a:p>
        </p:txBody>
      </p:sp>
    </p:spTree>
    <p:extLst>
      <p:ext uri="{BB962C8B-B14F-4D97-AF65-F5344CB8AC3E}">
        <p14:creationId xmlns:p14="http://schemas.microsoft.com/office/powerpoint/2010/main" val="40110981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cs typeface="Calibri"/>
            </a:endParaRPr>
          </a:p>
        </p:txBody>
      </p:sp>
      <p:sp>
        <p:nvSpPr>
          <p:cNvPr id="4" name="Slide Number Placeholder 3"/>
          <p:cNvSpPr>
            <a:spLocks noGrp="1"/>
          </p:cNvSpPr>
          <p:nvPr>
            <p:ph type="sldNum" sz="quarter" idx="5"/>
          </p:nvPr>
        </p:nvSpPr>
        <p:spPr/>
        <p:txBody>
          <a:bodyPr/>
          <a:lstStyle/>
          <a:p>
            <a:fld id="{D70AF98E-46AD-45F9-B6EF-E5C520E7A6F9}" type="slidenum">
              <a:t>6</a:t>
            </a:fld>
            <a:endParaRPr lang="en-US"/>
          </a:p>
        </p:txBody>
      </p:sp>
    </p:spTree>
    <p:extLst>
      <p:ext uri="{BB962C8B-B14F-4D97-AF65-F5344CB8AC3E}">
        <p14:creationId xmlns:p14="http://schemas.microsoft.com/office/powerpoint/2010/main" val="38321290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cs typeface="Calibri"/>
            </a:endParaRPr>
          </a:p>
        </p:txBody>
      </p:sp>
      <p:sp>
        <p:nvSpPr>
          <p:cNvPr id="4" name="Slide Number Placeholder 3"/>
          <p:cNvSpPr>
            <a:spLocks noGrp="1"/>
          </p:cNvSpPr>
          <p:nvPr>
            <p:ph type="sldNum" sz="quarter" idx="5"/>
          </p:nvPr>
        </p:nvSpPr>
        <p:spPr/>
        <p:txBody>
          <a:bodyPr/>
          <a:lstStyle/>
          <a:p>
            <a:fld id="{D70AF98E-46AD-45F9-B6EF-E5C520E7A6F9}" type="slidenum">
              <a:t>7</a:t>
            </a:fld>
            <a:endParaRPr lang="en-US"/>
          </a:p>
        </p:txBody>
      </p:sp>
    </p:spTree>
    <p:extLst>
      <p:ext uri="{BB962C8B-B14F-4D97-AF65-F5344CB8AC3E}">
        <p14:creationId xmlns:p14="http://schemas.microsoft.com/office/powerpoint/2010/main" val="19927667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APA References:</a:t>
            </a:r>
          </a:p>
          <a:p>
            <a:pPr marL="171450" indent="-171450">
              <a:buFont typeface="Arial"/>
              <a:buChar char="•"/>
            </a:pPr>
            <a:r>
              <a:rPr lang="en-US" err="1">
                <a:cs typeface="Calibri"/>
              </a:rPr>
              <a:t>Blosnich</a:t>
            </a:r>
            <a:r>
              <a:rPr lang="en-US">
                <a:cs typeface="Calibri"/>
              </a:rPr>
              <a:t>, J. R., Marsiglio, M. C., Gao, S., Gordon, A. J., </a:t>
            </a:r>
            <a:r>
              <a:rPr lang="en-US" err="1">
                <a:cs typeface="Calibri"/>
              </a:rPr>
              <a:t>Shipherd</a:t>
            </a:r>
            <a:r>
              <a:rPr lang="en-US">
                <a:cs typeface="Calibri"/>
              </a:rPr>
              <a:t>, J. C., Kauth, M. R., &amp; Fine, M. J. (2021). Mental health of transgender Veterans in US states with and without nondiscrimination and anti-bullying policies. </a:t>
            </a:r>
            <a:r>
              <a:rPr lang="en-US" i="1">
                <a:cs typeface="Calibri"/>
              </a:rPr>
              <a:t>American Journal of Public Health, 111</a:t>
            </a:r>
            <a:r>
              <a:rPr lang="en-US">
                <a:cs typeface="Calibri"/>
              </a:rPr>
              <a:t>(2), 263–269. </a:t>
            </a:r>
            <a:r>
              <a:rPr lang="en-US" dirty="0">
                <a:cs typeface="Calibri"/>
                <a:hlinkClick r:id="rId3"/>
              </a:rPr>
              <a:t>https://doi.org/10.2105/AJPH.2020.305978</a:t>
            </a:r>
            <a:endParaRPr lang="en-US" dirty="0">
              <a:cs typeface="Calibri"/>
            </a:endParaRPr>
          </a:p>
          <a:p>
            <a:pPr marL="171450" indent="-171450">
              <a:buFont typeface="Arial"/>
              <a:buChar char="•"/>
            </a:pPr>
            <a:r>
              <a:rPr lang="en-US">
                <a:cs typeface="Calibri"/>
              </a:rPr>
              <a:t>Kauth, M. R., Meier, C., &amp; Latini, D. M. (2019). LGBT Veteran health care: Understanding the intersection of multiple minority identities with the VA system. </a:t>
            </a:r>
            <a:r>
              <a:rPr lang="en-US" i="1">
                <a:cs typeface="Calibri"/>
              </a:rPr>
              <a:t>Journal of Gay &amp; Lesbian Mental Health, 23</a:t>
            </a:r>
            <a:r>
              <a:rPr lang="en-US">
                <a:cs typeface="Calibri"/>
              </a:rPr>
              <a:t>(1), 1-13. </a:t>
            </a:r>
            <a:r>
              <a:rPr lang="en-US" dirty="0">
                <a:cs typeface="Calibri"/>
                <a:hlinkClick r:id="rId4"/>
              </a:rPr>
              <a:t>https://doi.org/10.1080/19359705.2018.1524538</a:t>
            </a:r>
            <a:endParaRPr lang="en-US" dirty="0">
              <a:cs typeface="Calibri"/>
            </a:endParaRPr>
          </a:p>
          <a:p>
            <a:pPr marL="171450" indent="-171450">
              <a:buFont typeface="Arial"/>
              <a:buChar char="•"/>
            </a:pPr>
            <a:r>
              <a:rPr lang="en-US">
                <a:cs typeface="Calibri"/>
              </a:rPr>
              <a:t>National LGBTQ Health Education Center. (2020). Affirmative health care for transgender and gender non-conforming people: Best practices for front-line health care staff. </a:t>
            </a:r>
            <a:r>
              <a:rPr lang="en-US" i="1">
                <a:cs typeface="Calibri"/>
              </a:rPr>
              <a:t>Fenway Institute</a:t>
            </a:r>
            <a:r>
              <a:rPr lang="en-US">
                <a:cs typeface="Calibri"/>
              </a:rPr>
              <a:t>. </a:t>
            </a:r>
            <a:r>
              <a:rPr lang="en-US" dirty="0">
                <a:cs typeface="Calibri"/>
                <a:hlinkClick r:id="rId5"/>
              </a:rPr>
              <a:t>https://www.lgbtqiahealtheducation.org/</a:t>
            </a:r>
            <a:endParaRPr lang="en-US" dirty="0">
              <a:cs typeface="Calibri"/>
            </a:endParaRPr>
          </a:p>
          <a:p>
            <a:pPr marL="171450" indent="-171450">
              <a:buFont typeface="Arial"/>
              <a:buChar char="•"/>
            </a:pPr>
            <a:r>
              <a:rPr lang="en-US">
                <a:cs typeface="Calibri"/>
              </a:rPr>
              <a:t>Office of Health Equity, U.S. Department of Veterans Affairs. (2022). Social determinants of health and minority Veterans. </a:t>
            </a:r>
            <a:r>
              <a:rPr lang="en-US" dirty="0">
                <a:cs typeface="Calibri"/>
                <a:hlinkClick r:id="rId6"/>
              </a:rPr>
              <a:t>https://www.va.gov/HEALTHEQUITY/index.asp</a:t>
            </a:r>
            <a:endParaRPr lang="en-US" dirty="0">
              <a:cs typeface="Calibri"/>
            </a:endParaRPr>
          </a:p>
          <a:p>
            <a:pPr marL="171450" indent="-171450">
              <a:buFont typeface="Arial"/>
              <a:buChar char="•"/>
            </a:pPr>
            <a:r>
              <a:rPr lang="en-US">
                <a:cs typeface="Calibri"/>
              </a:rPr>
              <a:t>U.S. Department of Veterans Affairs. (2021). National Veteran Suicide Prevention Annual Report. </a:t>
            </a:r>
            <a:r>
              <a:rPr lang="en-US" dirty="0">
                <a:cs typeface="Calibri"/>
                <a:hlinkClick r:id="rId7"/>
              </a:rPr>
              <a:t>https://www.mentalhealth.va.gov/docs/data-sheets/2021/2021-National-Veteran-Suicide-Prevention-Annual-Report-FINAL-9-8-21.pdf</a:t>
            </a:r>
            <a:endParaRPr lang="en-US" dirty="0">
              <a:cs typeface="Calibri"/>
            </a:endParaRPr>
          </a:p>
          <a:p>
            <a:endParaRPr lang="en-US" b="1" dirty="0">
              <a:cs typeface="Calibri"/>
            </a:endParaRPr>
          </a:p>
        </p:txBody>
      </p:sp>
      <p:sp>
        <p:nvSpPr>
          <p:cNvPr id="4" name="Slide Number Placeholder 3"/>
          <p:cNvSpPr>
            <a:spLocks noGrp="1"/>
          </p:cNvSpPr>
          <p:nvPr>
            <p:ph type="sldNum" sz="quarter" idx="5"/>
          </p:nvPr>
        </p:nvSpPr>
        <p:spPr/>
        <p:txBody>
          <a:bodyPr/>
          <a:lstStyle/>
          <a:p>
            <a:fld id="{D70AF98E-46AD-45F9-B6EF-E5C520E7A6F9}" type="slidenum">
              <a:t>8</a:t>
            </a:fld>
            <a:endParaRPr lang="en-US"/>
          </a:p>
        </p:txBody>
      </p:sp>
    </p:spTree>
    <p:extLst>
      <p:ext uri="{BB962C8B-B14F-4D97-AF65-F5344CB8AC3E}">
        <p14:creationId xmlns:p14="http://schemas.microsoft.com/office/powerpoint/2010/main" val="21060982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cs typeface="Calibri"/>
              </a:rPr>
              <a:t>15 minutes</a:t>
            </a:r>
          </a:p>
          <a:p>
            <a:r>
              <a:rPr lang="en-US"/>
              <a:t>Now, I’d like to take us through an experiential exercise. The goal of this exercise is to support self-reflection of how one’s own identities, life history, and individual differences may impact your work with Veterans. Additionally, the hope is that reflection of one’s own various identities can support awareness of intersectional identities of the Veterans you serve.</a:t>
            </a:r>
            <a:endParaRPr lang="en-US">
              <a:cs typeface="Calibri"/>
            </a:endParaRPr>
          </a:p>
          <a:p>
            <a:r>
              <a:rPr lang="en-US"/>
              <a:t> </a:t>
            </a:r>
            <a:endParaRPr lang="en-US">
              <a:cs typeface="Calibri"/>
            </a:endParaRPr>
          </a:p>
          <a:p>
            <a:r>
              <a:rPr lang="en-US" b="1"/>
              <a:t>Instructions:</a:t>
            </a:r>
            <a:endParaRPr lang="en-US"/>
          </a:p>
          <a:p>
            <a:pPr marL="171450" indent="-171450">
              <a:buFont typeface="Arial"/>
              <a:buChar char="•"/>
            </a:pPr>
            <a:r>
              <a:rPr lang="en-US"/>
              <a:t>Review the ADDRESSING Model Framework you see on the screen. Examine how each cultural characteristic corresponds to your own identity. Take note of aspects of your identity that correspond with privilege or oppression.</a:t>
            </a:r>
            <a:endParaRPr lang="en-US">
              <a:cs typeface="Calibri"/>
            </a:endParaRPr>
          </a:p>
          <a:p>
            <a:pPr marL="171450" indent="-171450">
              <a:buFont typeface="Arial"/>
              <a:buChar char="•"/>
            </a:pPr>
            <a:r>
              <a:rPr lang="en-US"/>
              <a:t>Complete the following reflection statements:</a:t>
            </a:r>
          </a:p>
          <a:p>
            <a:pPr marL="628650" lvl="1" indent="-171450">
              <a:buFont typeface="Arial"/>
              <a:buChar char="•"/>
            </a:pPr>
            <a:r>
              <a:rPr lang="en-US"/>
              <a:t>The part of my identity that I am most/least aware of is: </a:t>
            </a:r>
          </a:p>
          <a:p>
            <a:pPr marL="628650" lvl="1" indent="-171450">
              <a:buFont typeface="Arial"/>
              <a:buChar char="•"/>
            </a:pPr>
            <a:r>
              <a:rPr lang="en-US"/>
              <a:t>The part of my identity that was most important to my birth family was: </a:t>
            </a:r>
          </a:p>
          <a:p>
            <a:pPr marL="628650" lvl="1" indent="-171450">
              <a:buFont typeface="Arial"/>
              <a:buChar char="•"/>
            </a:pPr>
            <a:r>
              <a:rPr lang="en-US"/>
              <a:t>The part of my identity that I would like to know more about is: </a:t>
            </a:r>
            <a:endParaRPr lang="en-US">
              <a:cs typeface="Calibri"/>
            </a:endParaRPr>
          </a:p>
          <a:p>
            <a:pPr marL="628650" lvl="1" indent="-171450">
              <a:buFont typeface="Arial"/>
              <a:buChar char="•"/>
            </a:pPr>
            <a:r>
              <a:rPr lang="en-US"/>
              <a:t>The part of my identity that I believe is the most misunderstood is: </a:t>
            </a:r>
            <a:endParaRPr lang="en-US">
              <a:cs typeface="Calibri"/>
            </a:endParaRPr>
          </a:p>
          <a:p>
            <a:pPr marL="628650" lvl="1" indent="-171450">
              <a:buFont typeface="Arial"/>
              <a:buChar char="•"/>
            </a:pPr>
            <a:r>
              <a:rPr lang="en-US"/>
              <a:t>The part of my identity that garners me the most privilege is: </a:t>
            </a:r>
            <a:endParaRPr lang="en-US">
              <a:cs typeface="Calibri"/>
            </a:endParaRPr>
          </a:p>
          <a:p>
            <a:pPr marL="628650" lvl="1" indent="-171450">
              <a:buFont typeface="Arial"/>
              <a:buChar char="•"/>
            </a:pPr>
            <a:r>
              <a:rPr lang="en-US"/>
              <a:t>The part of my identity that is difficult to discuss with others who identify differently is: </a:t>
            </a:r>
            <a:endParaRPr lang="en-US">
              <a:cs typeface="Calibri"/>
            </a:endParaRPr>
          </a:p>
          <a:p>
            <a:pPr marL="628650" lvl="1" indent="-171450">
              <a:buFont typeface="Arial"/>
              <a:buChar char="•"/>
            </a:pPr>
            <a:r>
              <a:rPr lang="en-US"/>
              <a:t>The part of my identity that makes me feel discriminated against is: </a:t>
            </a:r>
            <a:endParaRPr lang="en-US">
              <a:cs typeface="Calibri"/>
            </a:endParaRPr>
          </a:p>
          <a:p>
            <a:pPr marL="628650" lvl="1" indent="-171450">
              <a:buFont typeface="Arial"/>
              <a:buChar char="•"/>
            </a:pPr>
            <a:r>
              <a:rPr lang="en-US"/>
              <a:t>The part of my identity that I value most is: </a:t>
            </a:r>
            <a:endParaRPr lang="en-US">
              <a:cs typeface="Calibri"/>
            </a:endParaRPr>
          </a:p>
          <a:p>
            <a:pPr marL="628650" lvl="1" indent="-171450">
              <a:buFont typeface="Arial"/>
              <a:buChar char="•"/>
            </a:pPr>
            <a:r>
              <a:rPr lang="en-US"/>
              <a:t>If someone would like to really understand me, they should understand that: </a:t>
            </a:r>
            <a:endParaRPr lang="en-US">
              <a:cs typeface="Calibri"/>
            </a:endParaRPr>
          </a:p>
          <a:p>
            <a:pPr lvl="1"/>
            <a:r>
              <a:rPr lang="en-US"/>
              <a:t> </a:t>
            </a:r>
            <a:endParaRPr lang="en-US">
              <a:cs typeface="Calibri"/>
            </a:endParaRPr>
          </a:p>
          <a:p>
            <a:pPr marL="171450" indent="-171450">
              <a:buFont typeface="Arial"/>
              <a:buChar char="•"/>
            </a:pPr>
            <a:r>
              <a:rPr lang="en-US"/>
              <a:t>In what ways do these aspects of your identity intersect and interact? How does </a:t>
            </a:r>
            <a:r>
              <a:rPr lang="en-US" i="1"/>
              <a:t>social</a:t>
            </a:r>
            <a:r>
              <a:rPr lang="en-US"/>
              <a:t> location impact your experience of your identity?</a:t>
            </a:r>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D70AF98E-46AD-45F9-B6EF-E5C520E7A6F9}" type="slidenum">
              <a:t>9</a:t>
            </a:fld>
            <a:endParaRPr lang="en-US"/>
          </a:p>
        </p:txBody>
      </p:sp>
    </p:spTree>
    <p:extLst>
      <p:ext uri="{BB962C8B-B14F-4D97-AF65-F5344CB8AC3E}">
        <p14:creationId xmlns:p14="http://schemas.microsoft.com/office/powerpoint/2010/main" val="38780333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74FF2D-8B13-4563-AEE3-F4CD73A2E484}"/>
              </a:ext>
            </a:extLst>
          </p:cNvPr>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C874FF2D-8B13-4563-AEE3-F4CD73A2E484}"/>
                          </a:ext>
                        </a:extLst>
                      </p:cNvPr>
                      <p:cNvPicPr/>
                      <p:nvPr/>
                    </p:nvPicPr>
                    <p:blipFill>
                      <a:blip r:embed="rId4"/>
                      <a:stretch>
                        <a:fillRect/>
                      </a:stretch>
                    </p:blipFill>
                    <p:spPr>
                      <a:xfrm>
                        <a:off x="2120" y="1588"/>
                        <a:ext cx="2117" cy="1588"/>
                      </a:xfrm>
                      <a:prstGeom prst="rect">
                        <a:avLst/>
                      </a:prstGeom>
                    </p:spPr>
                  </p:pic>
                </p:oleObj>
              </mc:Fallback>
            </mc:AlternateContent>
          </a:graphicData>
        </a:graphic>
      </p:graphicFrame>
      <p:sp>
        <p:nvSpPr>
          <p:cNvPr id="3" name="Slide Number Placeholder 2"/>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defTabSz="342900"/>
            <a:fld id="{D983F1FA-211D-3044-9E35-958DFBC26156}" type="slidenum">
              <a:rPr lang="en-US" smtClean="0">
                <a:solidFill>
                  <a:prstClr val="white"/>
                </a:solidFill>
              </a:rPr>
              <a:pPr defTabSz="342900"/>
              <a:t>‹#›</a:t>
            </a:fld>
            <a:endParaRPr lang="en-US">
              <a:solidFill>
                <a:prstClr val="white"/>
              </a:solidFill>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fontAlgn="base">
              <a:spcBef>
                <a:spcPct val="0"/>
              </a:spcBef>
              <a:spcAft>
                <a:spcPct val="0"/>
              </a:spcAft>
            </a:pPr>
            <a:endParaRPr lang="en-US" sz="135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5"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2700"/>
              <a:t>Agenda</a:t>
            </a:r>
            <a:endParaRPr lang="en-US" sz="2700" u="sng"/>
          </a:p>
        </p:txBody>
      </p:sp>
      <p:sp>
        <p:nvSpPr>
          <p:cNvPr id="6" name="TextBox 5"/>
          <p:cNvSpPr txBox="1"/>
          <p:nvPr userDrawn="1"/>
        </p:nvSpPr>
        <p:spPr>
          <a:xfrm>
            <a:off x="441834" y="1659469"/>
            <a:ext cx="11308337" cy="276999"/>
          </a:xfrm>
          <a:prstGeom prst="rect">
            <a:avLst/>
          </a:prstGeom>
          <a:solidFill>
            <a:srgbClr val="00B0F0"/>
          </a:solidFill>
        </p:spPr>
        <p:txBody>
          <a:bodyPr wrap="square" lIns="68580" tIns="34290" rIns="68580" bIns="34290" rtlCol="0">
            <a:spAutoFit/>
          </a:bodyPr>
          <a:lstStyle/>
          <a:p>
            <a:pPr fontAlgn="base">
              <a:spcBef>
                <a:spcPct val="0"/>
              </a:spcBef>
              <a:spcAft>
                <a:spcPct val="0"/>
              </a:spcAft>
            </a:pPr>
            <a:endParaRPr lang="en-US" sz="135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7" name="TextBox 6"/>
          <p:cNvSpPr txBox="1"/>
          <p:nvPr userDrawn="1"/>
        </p:nvSpPr>
        <p:spPr>
          <a:xfrm>
            <a:off x="863591" y="2846077"/>
            <a:ext cx="10522964" cy="669414"/>
          </a:xfrm>
          <a:prstGeom prst="rect">
            <a:avLst/>
          </a:prstGeom>
          <a:noFill/>
        </p:spPr>
        <p:txBody>
          <a:bodyPr wrap="square" lIns="68580" tIns="34290" rIns="68580" bIns="34290" rtlCol="0" anchor="ctr">
            <a:spAutoFit/>
          </a:bodyPr>
          <a:lstStyle/>
          <a:p>
            <a:pPr marL="0" lvl="1" indent="-257175" fontAlgn="base">
              <a:spcBef>
                <a:spcPts val="900"/>
              </a:spcBef>
              <a:spcAft>
                <a:spcPct val="0"/>
              </a:spcAft>
              <a:buFont typeface="+mj-lt"/>
              <a:buAutoNum type="arabicPeriod"/>
            </a:pPr>
            <a:r>
              <a:rPr lang="en-US" sz="1500" b="1">
                <a:solidFill>
                  <a:srgbClr val="000000"/>
                </a:solidFill>
                <a:latin typeface="Arial" panose="020B0604020202020204" pitchFamily="34" charset="0"/>
                <a:cs typeface="Arial" panose="020B0604020202020204" pitchFamily="34" charset="0"/>
                <a:sym typeface="Arial" panose="020B0604020202020204" pitchFamily="34" charset="0"/>
              </a:rPr>
              <a:t>Good News Story</a:t>
            </a:r>
          </a:p>
          <a:p>
            <a:pPr marL="0" lvl="1" fontAlgn="base">
              <a:spcBef>
                <a:spcPts val="900"/>
              </a:spcBef>
              <a:spcAft>
                <a:spcPct val="0"/>
              </a:spcAft>
            </a:pPr>
            <a:endParaRPr lang="en-US" sz="1500" b="1">
              <a:solidFill>
                <a:srgbClr val="000000"/>
              </a:solidFill>
              <a:latin typeface="Tahoma" pitchFamily="34" charset="0"/>
              <a:cs typeface="Arial" pitchFamily="34" charset="0"/>
            </a:endParaRPr>
          </a:p>
        </p:txBody>
      </p:sp>
    </p:spTree>
    <p:extLst>
      <p:ext uri="{BB962C8B-B14F-4D97-AF65-F5344CB8AC3E}">
        <p14:creationId xmlns:p14="http://schemas.microsoft.com/office/powerpoint/2010/main" val="6913514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2A90704-342A-4203-AC59-484FA3C60EC8}"/>
              </a:ext>
            </a:extLst>
          </p:cNvPr>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32A90704-342A-4203-AC59-484FA3C60EC8}"/>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8D4493-252F-404E-968C-2AC16788CB70}"/>
              </a:ext>
            </a:extLst>
          </p:cNvPr>
          <p:cNvSpPr/>
          <p:nvPr userDrawn="1">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330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defRPr/>
            </a:pPr>
            <a:fld id="{6CE3B0C8-769F-4932-A783-54744893CC7C}" type="slidenum">
              <a:rPr lang="en-US" altLang="en-US" smtClean="0">
                <a:solidFill>
                  <a:prstClr val="white"/>
                </a:solidFill>
              </a:rPr>
              <a:pPr>
                <a:defRPr/>
              </a:pPr>
              <a:t>‹#›</a:t>
            </a:fld>
            <a:endParaRPr lang="en-US" altLang="en-US">
              <a:solidFill>
                <a:prstClr val="white"/>
              </a:solidFill>
            </a:endParaRPr>
          </a:p>
        </p:txBody>
      </p:sp>
    </p:spTree>
    <p:extLst>
      <p:ext uri="{BB962C8B-B14F-4D97-AF65-F5344CB8AC3E}">
        <p14:creationId xmlns:p14="http://schemas.microsoft.com/office/powerpoint/2010/main" val="38842130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1_Title Slide No photo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E448E6D-4898-7741-9863-F1C8A5BA9027}"/>
              </a:ext>
            </a:extLst>
          </p:cNvPr>
          <p:cNvSpPr/>
          <p:nvPr userDrawn="1"/>
        </p:nvSpPr>
        <p:spPr>
          <a:xfrm>
            <a:off x="0" y="0"/>
            <a:ext cx="12192000" cy="5890826"/>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9" name="Text Placeholder 8">
            <a:extLst>
              <a:ext uri="{FF2B5EF4-FFF2-40B4-BE49-F238E27FC236}">
                <a16:creationId xmlns:a16="http://schemas.microsoft.com/office/drawing/2014/main" id="{256D496D-3EAE-0643-966A-D24A621E946F}"/>
              </a:ext>
            </a:extLst>
          </p:cNvPr>
          <p:cNvSpPr>
            <a:spLocks noGrp="1"/>
          </p:cNvSpPr>
          <p:nvPr>
            <p:ph type="body" sz="quarter" idx="10"/>
          </p:nvPr>
        </p:nvSpPr>
        <p:spPr>
          <a:xfrm>
            <a:off x="755669" y="2583064"/>
            <a:ext cx="8391583" cy="1016040"/>
          </a:xfrm>
        </p:spPr>
        <p:txBody>
          <a:bodyPr lIns="0" anchor="b" anchorCtr="0">
            <a:noAutofit/>
          </a:bodyPr>
          <a:lstStyle>
            <a:lvl1pPr marL="0" indent="0">
              <a:buNone/>
              <a:defRPr sz="3200">
                <a:solidFill>
                  <a:schemeClr val="bg1"/>
                </a:solidFill>
                <a:latin typeface="+mn-lt"/>
              </a:defRPr>
            </a:lvl1pPr>
          </a:lstStyle>
          <a:p>
            <a:pPr lvl="0"/>
            <a:r>
              <a:rPr lang="en-US"/>
              <a:t>Click to edit Master text styles</a:t>
            </a:r>
          </a:p>
        </p:txBody>
      </p:sp>
      <p:sp>
        <p:nvSpPr>
          <p:cNvPr id="17" name="Text Placeholder 8">
            <a:extLst>
              <a:ext uri="{FF2B5EF4-FFF2-40B4-BE49-F238E27FC236}">
                <a16:creationId xmlns:a16="http://schemas.microsoft.com/office/drawing/2014/main" id="{144DFDF4-465A-A143-9D9B-04AB8BF3F0B2}"/>
              </a:ext>
            </a:extLst>
          </p:cNvPr>
          <p:cNvSpPr>
            <a:spLocks noGrp="1"/>
          </p:cNvSpPr>
          <p:nvPr>
            <p:ph type="body" sz="quarter" idx="11" hasCustomPrompt="1"/>
          </p:nvPr>
        </p:nvSpPr>
        <p:spPr>
          <a:xfrm>
            <a:off x="755669" y="3918575"/>
            <a:ext cx="8391583" cy="508605"/>
          </a:xfrm>
        </p:spPr>
        <p:txBody>
          <a:bodyPr lIns="0">
            <a:noAutofit/>
          </a:bodyPr>
          <a:lstStyle>
            <a:lvl1pPr marL="0" indent="0">
              <a:buNone/>
              <a:defRPr sz="2000" i="1">
                <a:solidFill>
                  <a:schemeClr val="bg1"/>
                </a:solidFill>
                <a:latin typeface="+mn-lt"/>
              </a:defRPr>
            </a:lvl1pPr>
          </a:lstStyle>
          <a:p>
            <a:pPr lvl="0"/>
            <a:r>
              <a:rPr lang="en-US"/>
              <a:t>Click to edit Subtitle</a:t>
            </a:r>
          </a:p>
        </p:txBody>
      </p:sp>
      <p:cxnSp>
        <p:nvCxnSpPr>
          <p:cNvPr id="10" name="Straight Connector 9">
            <a:extLst>
              <a:ext uri="{FF2B5EF4-FFF2-40B4-BE49-F238E27FC236}">
                <a16:creationId xmlns:a16="http://schemas.microsoft.com/office/drawing/2014/main" id="{B2BD8274-25F7-2B4C-9DA1-BF4FAF6ABBF6}"/>
              </a:ext>
            </a:extLst>
          </p:cNvPr>
          <p:cNvCxnSpPr/>
          <p:nvPr userDrawn="1"/>
        </p:nvCxnSpPr>
        <p:spPr>
          <a:xfrm>
            <a:off x="728576" y="3726687"/>
            <a:ext cx="10026145" cy="0"/>
          </a:xfrm>
          <a:prstGeom prst="line">
            <a:avLst/>
          </a:prstGeom>
          <a:ln w="31750"/>
          <a:effectLst/>
        </p:spPr>
        <p:style>
          <a:lnRef idx="2">
            <a:schemeClr val="accent1"/>
          </a:lnRef>
          <a:fillRef idx="0">
            <a:schemeClr val="accent1"/>
          </a:fillRef>
          <a:effectRef idx="1">
            <a:schemeClr val="accent1"/>
          </a:effectRef>
          <a:fontRef idx="minor">
            <a:schemeClr val="tx1"/>
          </a:fontRef>
        </p:style>
      </p:cxnSp>
      <p:sp>
        <p:nvSpPr>
          <p:cNvPr id="14" name="Rectangle 13">
            <a:extLst>
              <a:ext uri="{FF2B5EF4-FFF2-40B4-BE49-F238E27FC236}">
                <a16:creationId xmlns:a16="http://schemas.microsoft.com/office/drawing/2014/main" id="{4605F522-782B-414F-9804-2336838F24F8}"/>
              </a:ext>
            </a:extLst>
          </p:cNvPr>
          <p:cNvSpPr/>
          <p:nvPr userDrawn="1"/>
        </p:nvSpPr>
        <p:spPr>
          <a:xfrm>
            <a:off x="3334" y="5890826"/>
            <a:ext cx="4080005" cy="64008"/>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6" name="Rectangle 15">
            <a:extLst>
              <a:ext uri="{FF2B5EF4-FFF2-40B4-BE49-F238E27FC236}">
                <a16:creationId xmlns:a16="http://schemas.microsoft.com/office/drawing/2014/main" id="{FBA9D200-C85C-2046-A980-119BFA98D77F}"/>
              </a:ext>
            </a:extLst>
          </p:cNvPr>
          <p:cNvSpPr/>
          <p:nvPr userDrawn="1"/>
        </p:nvSpPr>
        <p:spPr>
          <a:xfrm>
            <a:off x="4083341" y="5890826"/>
            <a:ext cx="4063935" cy="6400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8" name="Rectangle 17">
            <a:extLst>
              <a:ext uri="{FF2B5EF4-FFF2-40B4-BE49-F238E27FC236}">
                <a16:creationId xmlns:a16="http://schemas.microsoft.com/office/drawing/2014/main" id="{940C2771-8878-724A-A692-39B9696628BF}"/>
              </a:ext>
            </a:extLst>
          </p:cNvPr>
          <p:cNvSpPr/>
          <p:nvPr userDrawn="1"/>
        </p:nvSpPr>
        <p:spPr>
          <a:xfrm>
            <a:off x="8147277" y="5890826"/>
            <a:ext cx="4048060" cy="6400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5" name="Picture 4" descr="A picture containing text&#10;&#10;Description automatically generated">
            <a:extLst>
              <a:ext uri="{FF2B5EF4-FFF2-40B4-BE49-F238E27FC236}">
                <a16:creationId xmlns:a16="http://schemas.microsoft.com/office/drawing/2014/main" id="{A127A142-B1C5-9CCC-07D5-5793F1FA13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9427" y="6018409"/>
            <a:ext cx="3803912" cy="749810"/>
          </a:xfrm>
          <a:prstGeom prst="rect">
            <a:avLst/>
          </a:prstGeom>
        </p:spPr>
      </p:pic>
    </p:spTree>
    <p:extLst>
      <p:ext uri="{BB962C8B-B14F-4D97-AF65-F5344CB8AC3E}">
        <p14:creationId xmlns:p14="http://schemas.microsoft.com/office/powerpoint/2010/main" val="3648360747"/>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342900"/>
            <a:fld id="{D983F1FA-211D-3044-9E35-958DFBC26156}" type="slidenum">
              <a:rPr lang="en-US" smtClean="0">
                <a:solidFill>
                  <a:prstClr val="white"/>
                </a:solidFill>
              </a:rPr>
              <a:pPr defTabSz="342900"/>
              <a:t>‹#›</a:t>
            </a:fld>
            <a:endParaRPr lang="en-US">
              <a:solidFill>
                <a:prstClr val="white"/>
              </a:solidFill>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a:solidFill>
                <a:prstClr val="white"/>
              </a:solidFill>
            </a:endParaRPr>
          </a:p>
        </p:txBody>
      </p:sp>
      <p:sp>
        <p:nvSpPr>
          <p:cNvPr id="5"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defRPr>
            </a:lvl1pPr>
          </a:lstStyle>
          <a:p>
            <a:r>
              <a:rPr lang="en-US" sz="2700"/>
              <a:t>Click to edit Slide Maser Style</a:t>
            </a:r>
            <a:endParaRPr lang="en-US" sz="2700" u="sng"/>
          </a:p>
        </p:txBody>
      </p:sp>
    </p:spTree>
    <p:extLst>
      <p:ext uri="{BB962C8B-B14F-4D97-AF65-F5344CB8AC3E}">
        <p14:creationId xmlns:p14="http://schemas.microsoft.com/office/powerpoint/2010/main" val="22818155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0439D4E6-49E3-4273-9EDF-AD58558B9F7E}"/>
              </a:ext>
            </a:extLst>
          </p:cNvPr>
          <p:cNvSpPr>
            <a:spLocks noGrp="1"/>
          </p:cNvSpPr>
          <p:nvPr>
            <p:ph type="ctrTitle"/>
          </p:nvPr>
        </p:nvSpPr>
        <p:spPr>
          <a:xfrm>
            <a:off x="685800" y="908651"/>
            <a:ext cx="3620882" cy="3640345"/>
          </a:xfrm>
          <a:prstGeom prst="rect">
            <a:avLst/>
          </a:prstGeom>
        </p:spPr>
        <p:txBody>
          <a:bodyPr anchor="t">
            <a:normAutofit/>
          </a:bodyPr>
          <a:lstStyle>
            <a:lvl1pPr>
              <a:defRPr>
                <a:solidFill>
                  <a:schemeClr val="bg1"/>
                </a:solidFill>
              </a:defRPr>
            </a:lvl1pPr>
          </a:lstStyle>
          <a:p>
            <a:r>
              <a:rPr lang="en-US" sz="4000">
                <a:solidFill>
                  <a:schemeClr val="bg1"/>
                </a:solidFill>
              </a:rPr>
              <a:t>Click to edit Master title style</a:t>
            </a:r>
          </a:p>
        </p:txBody>
      </p:sp>
      <p:sp>
        <p:nvSpPr>
          <p:cNvPr id="10" name="Subtitle 2">
            <a:extLst>
              <a:ext uri="{FF2B5EF4-FFF2-40B4-BE49-F238E27FC236}">
                <a16:creationId xmlns:a16="http://schemas.microsoft.com/office/drawing/2014/main" id="{FE9D8936-4795-43B2-9C32-4BE93A672131}"/>
              </a:ext>
            </a:extLst>
          </p:cNvPr>
          <p:cNvSpPr>
            <a:spLocks noGrp="1"/>
          </p:cNvSpPr>
          <p:nvPr>
            <p:ph type="subTitle" idx="1" hasCustomPrompt="1"/>
          </p:nvPr>
        </p:nvSpPr>
        <p:spPr>
          <a:xfrm>
            <a:off x="705934" y="5220450"/>
            <a:ext cx="3380437" cy="570748"/>
          </a:xfrm>
          <a:prstGeom prst="rect">
            <a:avLst/>
          </a:prstGeom>
        </p:spPr>
        <p:txBody>
          <a:bodyPr anchor="b">
            <a:normAutofit/>
          </a:bodyPr>
          <a:lstStyle>
            <a:lvl1pPr marL="0" indent="0">
              <a:buNone/>
              <a:defRPr sz="1800">
                <a:solidFill>
                  <a:schemeClr val="bg1"/>
                </a:solidFill>
              </a:defRPr>
            </a:lvl1pPr>
          </a:lstStyle>
          <a:p>
            <a:r>
              <a:rPr lang="en-US" sz="1800">
                <a:solidFill>
                  <a:schemeClr val="bg1"/>
                </a:solidFill>
              </a:rPr>
              <a:t>Insert subtitle here</a:t>
            </a:r>
          </a:p>
        </p:txBody>
      </p:sp>
      <p:sp>
        <p:nvSpPr>
          <p:cNvPr id="18" name="Picture Placeholder 16">
            <a:extLst>
              <a:ext uri="{FF2B5EF4-FFF2-40B4-BE49-F238E27FC236}">
                <a16:creationId xmlns:a16="http://schemas.microsoft.com/office/drawing/2014/main" id="{6C8B8511-EE4E-4935-ABB8-E8C2FCB1C46F}"/>
              </a:ext>
            </a:extLst>
          </p:cNvPr>
          <p:cNvSpPr>
            <a:spLocks noGrp="1"/>
          </p:cNvSpPr>
          <p:nvPr>
            <p:ph type="pic" sz="quarter" idx="13" hasCustomPrompt="1"/>
          </p:nvPr>
        </p:nvSpPr>
        <p:spPr>
          <a:xfrm>
            <a:off x="4876158" y="0"/>
            <a:ext cx="7315841" cy="6858000"/>
          </a:xfrm>
          <a:prstGeom prst="rect">
            <a:avLst/>
          </a:prstGeom>
        </p:spPr>
        <p:txBody>
          <a:bodyPr anchor="t"/>
          <a:lstStyle>
            <a:lvl1pPr marL="0" indent="0" algn="ctr">
              <a:buNone/>
              <a:defRPr>
                <a:solidFill>
                  <a:schemeClr val="bg1"/>
                </a:solidFill>
              </a:defRPr>
            </a:lvl1pPr>
          </a:lstStyle>
          <a:p>
            <a:r>
              <a:rPr lang="en-US"/>
              <a:t>Insert photo here</a:t>
            </a:r>
          </a:p>
        </p:txBody>
      </p:sp>
      <p:cxnSp>
        <p:nvCxnSpPr>
          <p:cNvPr id="11" name="Straight Connector 10">
            <a:extLst>
              <a:ext uri="{FF2B5EF4-FFF2-40B4-BE49-F238E27FC236}">
                <a16:creationId xmlns:a16="http://schemas.microsoft.com/office/drawing/2014/main" id="{8239FAB6-0B6C-402C-A107-EFFF82281DAE}"/>
              </a:ext>
              <a:ext uri="{C183D7F6-B498-43B3-948B-1728B52AA6E4}">
                <adec:decorative xmlns:adec="http://schemas.microsoft.com/office/drawing/2017/decorative" val="1"/>
              </a:ext>
            </a:extLst>
          </p:cNvPr>
          <p:cNvCxnSpPr>
            <a:cxnSpLocks/>
          </p:cNvCxnSpPr>
          <p:nvPr userDrawn="1"/>
        </p:nvCxnSpPr>
        <p:spPr>
          <a:xfrm>
            <a:off x="800100" y="723900"/>
            <a:ext cx="1638300" cy="0"/>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Footer Placeholder 6">
            <a:extLst>
              <a:ext uri="{FF2B5EF4-FFF2-40B4-BE49-F238E27FC236}">
                <a16:creationId xmlns:a16="http://schemas.microsoft.com/office/drawing/2014/main" id="{DBE487E6-4032-4195-9823-685A39371B0C}"/>
              </a:ext>
            </a:extLst>
          </p:cNvPr>
          <p:cNvSpPr>
            <a:spLocks noGrp="1"/>
          </p:cNvSpPr>
          <p:nvPr>
            <p:ph type="ftr" sz="quarter" idx="11"/>
          </p:nvPr>
        </p:nvSpPr>
        <p:spPr>
          <a:xfrm>
            <a:off x="715383" y="6356350"/>
            <a:ext cx="4539727" cy="365125"/>
          </a:xfrm>
          <a:prstGeom prst="rect">
            <a:avLst/>
          </a:prstGeom>
        </p:spPr>
        <p:txBody>
          <a:bodyPr/>
          <a:lstStyle>
            <a:lvl1pPr>
              <a:defRPr>
                <a:solidFill>
                  <a:schemeClr val="bg1"/>
                </a:solidFill>
              </a:defRPr>
            </a:lvl1pPr>
          </a:lstStyle>
          <a:p>
            <a:r>
              <a:rPr lang="en-US"/>
              <a:t>PRESENTATION TITLE</a:t>
            </a:r>
          </a:p>
        </p:txBody>
      </p:sp>
      <p:sp>
        <p:nvSpPr>
          <p:cNvPr id="14" name="Date Placeholder 5">
            <a:extLst>
              <a:ext uri="{FF2B5EF4-FFF2-40B4-BE49-F238E27FC236}">
                <a16:creationId xmlns:a16="http://schemas.microsoft.com/office/drawing/2014/main" id="{C71E06DF-BA1B-43E6-A74C-85231D2EC37E}"/>
              </a:ext>
            </a:extLst>
          </p:cNvPr>
          <p:cNvSpPr>
            <a:spLocks noGrp="1"/>
          </p:cNvSpPr>
          <p:nvPr>
            <p:ph type="dt" sz="half" idx="10"/>
          </p:nvPr>
        </p:nvSpPr>
        <p:spPr>
          <a:xfrm>
            <a:off x="8369448" y="6356350"/>
            <a:ext cx="2592594" cy="365125"/>
          </a:xfrm>
          <a:prstGeom prst="rect">
            <a:avLst/>
          </a:prstGeom>
        </p:spPr>
        <p:txBody>
          <a:bodyPr/>
          <a:lstStyle/>
          <a:p>
            <a:r>
              <a:rPr lang="en-US">
                <a:solidFill>
                  <a:srgbClr val="FFFFFF"/>
                </a:solidFill>
                <a:effectLst>
                  <a:outerShdw blurRad="38100" dist="38100" dir="2700000" algn="tl">
                    <a:srgbClr val="000000">
                      <a:alpha val="43137"/>
                    </a:srgbClr>
                  </a:outerShdw>
                </a:effectLst>
              </a:rPr>
              <a:t>2/11/20XX</a:t>
            </a:r>
          </a:p>
        </p:txBody>
      </p:sp>
      <p:sp>
        <p:nvSpPr>
          <p:cNvPr id="15" name="Slide Number Placeholder 7">
            <a:extLst>
              <a:ext uri="{FF2B5EF4-FFF2-40B4-BE49-F238E27FC236}">
                <a16:creationId xmlns:a16="http://schemas.microsoft.com/office/drawing/2014/main" id="{0BD36B16-3F07-4955-8D4D-BC0FD17C1CE4}"/>
              </a:ext>
            </a:extLst>
          </p:cNvPr>
          <p:cNvSpPr>
            <a:spLocks noGrp="1"/>
          </p:cNvSpPr>
          <p:nvPr>
            <p:ph type="sldNum" sz="quarter" idx="12"/>
          </p:nvPr>
        </p:nvSpPr>
        <p:spPr>
          <a:xfrm>
            <a:off x="10919012" y="6356350"/>
            <a:ext cx="672354" cy="365125"/>
          </a:xfrm>
          <a:prstGeom prst="rect">
            <a:avLst/>
          </a:prstGeom>
        </p:spPr>
        <p:txBody>
          <a:bodyPr/>
          <a:lstStyle/>
          <a:p>
            <a:fld id="{E30AF5A0-43BB-4336-8627-9123B9144D80}" type="slidenum">
              <a:rPr lang="en-US" smtClean="0">
                <a:solidFill>
                  <a:srgbClr val="FFFFFF"/>
                </a:solidFill>
                <a:effectLst>
                  <a:outerShdw blurRad="38100" dist="38100" dir="2700000" algn="tl">
                    <a:srgbClr val="000000">
                      <a:alpha val="43137"/>
                    </a:srgbClr>
                  </a:outerShdw>
                </a:effectLst>
              </a:rPr>
              <a:t>‹#›</a:t>
            </a:fld>
            <a:endParaRPr lang="en-US">
              <a:solidFill>
                <a:srgbClr val="FFFFFF"/>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1186346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695A76E-1EF3-4F47-9E87-6FCAB7D5DFE2}"/>
              </a:ext>
            </a:extLst>
          </p:cNvPr>
          <p:cNvSpPr>
            <a:spLocks noGrp="1"/>
          </p:cNvSpPr>
          <p:nvPr>
            <p:ph type="title"/>
          </p:nvPr>
        </p:nvSpPr>
        <p:spPr>
          <a:xfrm>
            <a:off x="5604846" y="860615"/>
            <a:ext cx="5922279" cy="1272986"/>
          </a:xfrm>
          <a:prstGeom prst="rect">
            <a:avLst/>
          </a:prstGeom>
        </p:spPr>
        <p:txBody>
          <a:bodyPr>
            <a:normAutofit/>
          </a:bodyPr>
          <a:lstStyle/>
          <a:p>
            <a:r>
              <a:rPr lang="en-US" sz="4000"/>
              <a:t>Click to edit Master title style</a:t>
            </a:r>
          </a:p>
        </p:txBody>
      </p:sp>
      <p:sp>
        <p:nvSpPr>
          <p:cNvPr id="18" name="Picture Placeholder 16">
            <a:extLst>
              <a:ext uri="{FF2B5EF4-FFF2-40B4-BE49-F238E27FC236}">
                <a16:creationId xmlns:a16="http://schemas.microsoft.com/office/drawing/2014/main" id="{EAD023B5-9ABC-4D4A-A1AD-D4D83D662192}"/>
              </a:ext>
            </a:extLst>
          </p:cNvPr>
          <p:cNvSpPr>
            <a:spLocks noGrp="1"/>
          </p:cNvSpPr>
          <p:nvPr>
            <p:ph type="pic" sz="quarter" idx="13" hasCustomPrompt="1"/>
          </p:nvPr>
        </p:nvSpPr>
        <p:spPr>
          <a:xfrm>
            <a:off x="-1" y="1"/>
            <a:ext cx="4876799" cy="6858000"/>
          </a:xfrm>
          <a:prstGeom prst="rect">
            <a:avLst/>
          </a:prstGeom>
        </p:spPr>
        <p:txBody>
          <a:bodyPr/>
          <a:lstStyle>
            <a:lvl1pPr marL="0" indent="0" algn="ctr">
              <a:buNone/>
              <a:defRPr/>
            </a:lvl1pPr>
          </a:lstStyle>
          <a:p>
            <a:r>
              <a:rPr lang="en-US"/>
              <a:t>Insert photo here</a:t>
            </a:r>
          </a:p>
        </p:txBody>
      </p:sp>
      <p:cxnSp>
        <p:nvCxnSpPr>
          <p:cNvPr id="10" name="Straight Connector 9">
            <a:extLst>
              <a:ext uri="{FF2B5EF4-FFF2-40B4-BE49-F238E27FC236}">
                <a16:creationId xmlns:a16="http://schemas.microsoft.com/office/drawing/2014/main" id="{C0AFB647-646C-4130-9EF5-C19C686B184A}"/>
              </a:ext>
              <a:ext uri="{C183D7F6-B498-43B3-948B-1728B52AA6E4}">
                <adec:decorative xmlns:adec="http://schemas.microsoft.com/office/drawing/2017/decorative" val="1"/>
              </a:ext>
            </a:extLst>
          </p:cNvPr>
          <p:cNvCxnSpPr>
            <a:cxnSpLocks/>
          </p:cNvCxnSpPr>
          <p:nvPr userDrawn="1"/>
        </p:nvCxnSpPr>
        <p:spPr>
          <a:xfrm>
            <a:off x="5715000" y="738013"/>
            <a:ext cx="567690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09D5546-AD01-4B29-B174-EDA7105100BE}"/>
              </a:ext>
            </a:extLst>
          </p:cNvPr>
          <p:cNvSpPr>
            <a:spLocks noGrp="1"/>
          </p:cNvSpPr>
          <p:nvPr>
            <p:ph idx="1"/>
          </p:nvPr>
        </p:nvSpPr>
        <p:spPr>
          <a:xfrm>
            <a:off x="5566943" y="2133600"/>
            <a:ext cx="6005933" cy="3774464"/>
          </a:xfrm>
          <a:prstGeom prst="rect">
            <a:avLst/>
          </a:prstGeom>
        </p:spPr>
        <p:txBody>
          <a:bodyPr>
            <a:normAutofit/>
          </a:bodyPr>
          <a:lstStyle>
            <a:lvl1pPr marL="0" indent="0">
              <a:lnSpc>
                <a:spcPct val="100000"/>
              </a:lnSpc>
              <a:buNone/>
              <a:defRPr sz="1800"/>
            </a:lvl1pPr>
          </a:lstStyle>
          <a:p>
            <a:pPr lvl="0"/>
            <a:r>
              <a:rPr lang="en-US"/>
              <a:t>Click to edit Master text styles</a:t>
            </a:r>
          </a:p>
        </p:txBody>
      </p:sp>
      <p:cxnSp>
        <p:nvCxnSpPr>
          <p:cNvPr id="12" name="Straight Connector 11">
            <a:extLst>
              <a:ext uri="{FF2B5EF4-FFF2-40B4-BE49-F238E27FC236}">
                <a16:creationId xmlns:a16="http://schemas.microsoft.com/office/drawing/2014/main" id="{5C0A0972-FD9A-4E9D-A0A3-BD0AF8C7B74C}"/>
              </a:ext>
              <a:ext uri="{C183D7F6-B498-43B3-948B-1728B52AA6E4}">
                <adec:decorative xmlns:adec="http://schemas.microsoft.com/office/drawing/2017/decorative" val="1"/>
              </a:ext>
            </a:extLst>
          </p:cNvPr>
          <p:cNvCxnSpPr>
            <a:cxnSpLocks/>
          </p:cNvCxnSpPr>
          <p:nvPr userDrawn="1"/>
        </p:nvCxnSpPr>
        <p:spPr>
          <a:xfrm>
            <a:off x="5715000" y="6134100"/>
            <a:ext cx="56769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Footer Placeholder 4">
            <a:extLst>
              <a:ext uri="{FF2B5EF4-FFF2-40B4-BE49-F238E27FC236}">
                <a16:creationId xmlns:a16="http://schemas.microsoft.com/office/drawing/2014/main" id="{F3B2F557-7BE5-4154-A82F-928EE54A585D}"/>
              </a:ext>
            </a:extLst>
          </p:cNvPr>
          <p:cNvSpPr>
            <a:spLocks noGrp="1"/>
          </p:cNvSpPr>
          <p:nvPr>
            <p:ph type="ftr" sz="quarter" idx="11"/>
          </p:nvPr>
        </p:nvSpPr>
        <p:spPr>
          <a:xfrm>
            <a:off x="715383" y="6356350"/>
            <a:ext cx="4539727" cy="365125"/>
          </a:xfrm>
          <a:prstGeom prst="rect">
            <a:avLst/>
          </a:prstGeom>
        </p:spPr>
        <p:txBody>
          <a:bodyPr/>
          <a:lstStyle>
            <a:lvl1pPr>
              <a:defRPr>
                <a:solidFill>
                  <a:schemeClr val="bg1"/>
                </a:solidFill>
                <a:effectLst/>
              </a:defRPr>
            </a:lvl1pPr>
          </a:lstStyle>
          <a:p>
            <a:r>
              <a:rPr lang="en-US"/>
              <a:t>PRESENTATION TITLE</a:t>
            </a:r>
          </a:p>
        </p:txBody>
      </p:sp>
      <p:sp>
        <p:nvSpPr>
          <p:cNvPr id="14" name="Date Placeholder 3">
            <a:extLst>
              <a:ext uri="{FF2B5EF4-FFF2-40B4-BE49-F238E27FC236}">
                <a16:creationId xmlns:a16="http://schemas.microsoft.com/office/drawing/2014/main" id="{DE54A7E3-1026-464C-BB67-2D7F714067E7}"/>
              </a:ext>
            </a:extLst>
          </p:cNvPr>
          <p:cNvSpPr>
            <a:spLocks noGrp="1"/>
          </p:cNvSpPr>
          <p:nvPr>
            <p:ph type="dt" sz="half" idx="10"/>
          </p:nvPr>
        </p:nvSpPr>
        <p:spPr>
          <a:xfrm>
            <a:off x="8369448" y="6356350"/>
            <a:ext cx="2592594" cy="365125"/>
          </a:xfrm>
          <a:prstGeom prst="rect">
            <a:avLst/>
          </a:prstGeom>
        </p:spPr>
        <p:txBody>
          <a:bodyPr/>
          <a:lstStyle/>
          <a:p>
            <a:r>
              <a:rPr lang="en-US"/>
              <a:t>2/11/20XX</a:t>
            </a:r>
          </a:p>
        </p:txBody>
      </p:sp>
      <p:sp>
        <p:nvSpPr>
          <p:cNvPr id="15" name="Slide Number Placeholder 5">
            <a:extLst>
              <a:ext uri="{FF2B5EF4-FFF2-40B4-BE49-F238E27FC236}">
                <a16:creationId xmlns:a16="http://schemas.microsoft.com/office/drawing/2014/main" id="{F1723F54-B646-4D12-AEA1-08269C254710}"/>
              </a:ext>
            </a:extLst>
          </p:cNvPr>
          <p:cNvSpPr>
            <a:spLocks noGrp="1"/>
          </p:cNvSpPr>
          <p:nvPr>
            <p:ph type="sldNum" sz="quarter" idx="12"/>
          </p:nvPr>
        </p:nvSpPr>
        <p:spPr>
          <a:xfrm>
            <a:off x="10919012" y="6356350"/>
            <a:ext cx="672354" cy="365125"/>
          </a:xfrm>
          <a:prstGeom prst="rect">
            <a:avLst/>
          </a:prstGeom>
        </p:spPr>
        <p:txBody>
          <a:bodyPr/>
          <a:lstStyle/>
          <a:p>
            <a:fld id="{E30AF5A0-43BB-4336-8627-9123B9144D80}" type="slidenum">
              <a:rPr lang="en-US" smtClean="0"/>
              <a:t>‹#›</a:t>
            </a:fld>
            <a:endParaRPr lang="en-US"/>
          </a:p>
        </p:txBody>
      </p:sp>
    </p:spTree>
    <p:extLst>
      <p:ext uri="{BB962C8B-B14F-4D97-AF65-F5344CB8AC3E}">
        <p14:creationId xmlns:p14="http://schemas.microsoft.com/office/powerpoint/2010/main" val="10502351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8" name="Title 9">
            <a:extLst>
              <a:ext uri="{FF2B5EF4-FFF2-40B4-BE49-F238E27FC236}">
                <a16:creationId xmlns:a16="http://schemas.microsoft.com/office/drawing/2014/main" id="{C8837BA0-445B-4D04-ADA9-C65084B15F90}"/>
              </a:ext>
            </a:extLst>
          </p:cNvPr>
          <p:cNvSpPr>
            <a:spLocks noGrp="1"/>
          </p:cNvSpPr>
          <p:nvPr>
            <p:ph type="title"/>
          </p:nvPr>
        </p:nvSpPr>
        <p:spPr>
          <a:xfrm>
            <a:off x="800099" y="904730"/>
            <a:ext cx="4152900" cy="1652590"/>
          </a:xfrm>
          <a:prstGeom prst="rect">
            <a:avLst/>
          </a:prstGeom>
        </p:spPr>
        <p:txBody>
          <a:bodyPr>
            <a:normAutofit/>
          </a:bodyPr>
          <a:lstStyle/>
          <a:p>
            <a:r>
              <a:rPr lang="en-US"/>
              <a:t>Click to edit Master title style</a:t>
            </a:r>
          </a:p>
        </p:txBody>
      </p:sp>
      <p:sp>
        <p:nvSpPr>
          <p:cNvPr id="10" name="Content Placeholder 10">
            <a:extLst>
              <a:ext uri="{FF2B5EF4-FFF2-40B4-BE49-F238E27FC236}">
                <a16:creationId xmlns:a16="http://schemas.microsoft.com/office/drawing/2014/main" id="{0CFA4CCF-323F-4998-B6BF-56207329CDA8}"/>
              </a:ext>
            </a:extLst>
          </p:cNvPr>
          <p:cNvSpPr>
            <a:spLocks noGrp="1"/>
          </p:cNvSpPr>
          <p:nvPr>
            <p:ph idx="1"/>
          </p:nvPr>
        </p:nvSpPr>
        <p:spPr>
          <a:xfrm>
            <a:off x="5133975" y="952368"/>
            <a:ext cx="6257926" cy="1773893"/>
          </a:xfrm>
          <a:prstGeom prst="rect">
            <a:avLst/>
          </a:prstGeom>
        </p:spPr>
        <p:txBody>
          <a:bodyPr>
            <a:normAutofit/>
          </a:bodyPr>
          <a:lstStyle>
            <a:lvl1pPr marL="0" indent="0">
              <a:lnSpc>
                <a:spcPct val="100000"/>
              </a:lnSpc>
              <a:buNone/>
              <a:defRPr sz="1800"/>
            </a:lvl1pPr>
          </a:lstStyle>
          <a:p>
            <a:pPr lvl="0"/>
            <a:r>
              <a:rPr lang="en-US"/>
              <a:t>Click to edit Master text styles</a:t>
            </a:r>
          </a:p>
        </p:txBody>
      </p:sp>
      <p:cxnSp>
        <p:nvCxnSpPr>
          <p:cNvPr id="13" name="Straight Connector 12">
            <a:extLst>
              <a:ext uri="{FF2B5EF4-FFF2-40B4-BE49-F238E27FC236}">
                <a16:creationId xmlns:a16="http://schemas.microsoft.com/office/drawing/2014/main" id="{DFFFF70A-3EED-4002-B2F8-FB8301C80C77}"/>
              </a:ext>
              <a:ext uri="{C183D7F6-B498-43B3-948B-1728B52AA6E4}">
                <adec:decorative xmlns:adec="http://schemas.microsoft.com/office/drawing/2017/decorative" val="1"/>
              </a:ext>
            </a:extLst>
          </p:cNvPr>
          <p:cNvCxnSpPr>
            <a:cxnSpLocks/>
          </p:cNvCxnSpPr>
          <p:nvPr userDrawn="1"/>
        </p:nvCxnSpPr>
        <p:spPr>
          <a:xfrm>
            <a:off x="800100" y="6142781"/>
            <a:ext cx="105918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Picture Placeholder 17">
            <a:extLst>
              <a:ext uri="{FF2B5EF4-FFF2-40B4-BE49-F238E27FC236}">
                <a16:creationId xmlns:a16="http://schemas.microsoft.com/office/drawing/2014/main" id="{DD78C1EE-0224-4362-B796-4CC7B06992BD}"/>
              </a:ext>
            </a:extLst>
          </p:cNvPr>
          <p:cNvSpPr>
            <a:spLocks noGrp="1"/>
          </p:cNvSpPr>
          <p:nvPr>
            <p:ph type="pic" sz="quarter" idx="13" hasCustomPrompt="1"/>
          </p:nvPr>
        </p:nvSpPr>
        <p:spPr>
          <a:xfrm>
            <a:off x="800099" y="3048000"/>
            <a:ext cx="5133990" cy="2737531"/>
          </a:xfrm>
          <a:prstGeom prst="rect">
            <a:avLst/>
          </a:prstGeom>
        </p:spPr>
        <p:txBody>
          <a:bodyPr/>
          <a:lstStyle>
            <a:lvl1pPr marL="0" indent="0" algn="ctr">
              <a:buNone/>
              <a:defRPr/>
            </a:lvl1pPr>
          </a:lstStyle>
          <a:p>
            <a:r>
              <a:rPr lang="en-US"/>
              <a:t>Insert photo here</a:t>
            </a:r>
          </a:p>
        </p:txBody>
      </p:sp>
      <p:sp>
        <p:nvSpPr>
          <p:cNvPr id="21" name="Picture Placeholder 17">
            <a:extLst>
              <a:ext uri="{FF2B5EF4-FFF2-40B4-BE49-F238E27FC236}">
                <a16:creationId xmlns:a16="http://schemas.microsoft.com/office/drawing/2014/main" id="{2C1748F4-2D05-4407-8CB0-D854F9602DA3}"/>
              </a:ext>
            </a:extLst>
          </p:cNvPr>
          <p:cNvSpPr>
            <a:spLocks noGrp="1"/>
          </p:cNvSpPr>
          <p:nvPr>
            <p:ph type="pic" sz="quarter" idx="14" hasCustomPrompt="1"/>
          </p:nvPr>
        </p:nvSpPr>
        <p:spPr>
          <a:xfrm>
            <a:off x="6209621" y="3048000"/>
            <a:ext cx="5182278" cy="2737531"/>
          </a:xfrm>
          <a:prstGeom prst="rect">
            <a:avLst/>
          </a:prstGeom>
        </p:spPr>
        <p:txBody>
          <a:bodyPr/>
          <a:lstStyle>
            <a:lvl1pPr marL="0" indent="0" algn="ctr">
              <a:buNone/>
              <a:defRPr/>
            </a:lvl1pPr>
          </a:lstStyle>
          <a:p>
            <a:r>
              <a:rPr lang="en-US"/>
              <a:t>Insert photo here</a:t>
            </a:r>
          </a:p>
        </p:txBody>
      </p:sp>
      <p:sp>
        <p:nvSpPr>
          <p:cNvPr id="14" name="Footer Placeholder 7">
            <a:extLst>
              <a:ext uri="{FF2B5EF4-FFF2-40B4-BE49-F238E27FC236}">
                <a16:creationId xmlns:a16="http://schemas.microsoft.com/office/drawing/2014/main" id="{59837BA4-E3C3-4F0D-A113-75128BC03EF4}"/>
              </a:ext>
            </a:extLst>
          </p:cNvPr>
          <p:cNvSpPr>
            <a:spLocks noGrp="1"/>
          </p:cNvSpPr>
          <p:nvPr>
            <p:ph type="ftr" sz="quarter" idx="11"/>
          </p:nvPr>
        </p:nvSpPr>
        <p:spPr>
          <a:xfrm>
            <a:off x="715383" y="6356350"/>
            <a:ext cx="4539727" cy="365125"/>
          </a:xfrm>
          <a:prstGeom prst="rect">
            <a:avLst/>
          </a:prstGeom>
        </p:spPr>
        <p:txBody>
          <a:bodyPr/>
          <a:lstStyle>
            <a:lvl1pPr>
              <a:defRPr/>
            </a:lvl1pPr>
          </a:lstStyle>
          <a:p>
            <a:r>
              <a:rPr lang="en-US"/>
              <a:t>PRESENTATION TITLE</a:t>
            </a:r>
          </a:p>
        </p:txBody>
      </p:sp>
      <p:sp>
        <p:nvSpPr>
          <p:cNvPr id="15" name="Date Placeholder 1">
            <a:extLst>
              <a:ext uri="{FF2B5EF4-FFF2-40B4-BE49-F238E27FC236}">
                <a16:creationId xmlns:a16="http://schemas.microsoft.com/office/drawing/2014/main" id="{5DA65157-50C9-4A85-912D-6DC9A606192F}"/>
              </a:ext>
            </a:extLst>
          </p:cNvPr>
          <p:cNvSpPr>
            <a:spLocks noGrp="1"/>
          </p:cNvSpPr>
          <p:nvPr>
            <p:ph type="dt" sz="half" idx="10"/>
          </p:nvPr>
        </p:nvSpPr>
        <p:spPr>
          <a:xfrm>
            <a:off x="8369448" y="6356350"/>
            <a:ext cx="2592594" cy="365125"/>
          </a:xfrm>
          <a:prstGeom prst="rect">
            <a:avLst/>
          </a:prstGeom>
        </p:spPr>
        <p:txBody>
          <a:bodyPr/>
          <a:lstStyle/>
          <a:p>
            <a:r>
              <a:rPr lang="en-US"/>
              <a:t>2/11/20XX</a:t>
            </a:r>
          </a:p>
        </p:txBody>
      </p:sp>
      <p:sp>
        <p:nvSpPr>
          <p:cNvPr id="16" name="Slide Number Placeholder 6">
            <a:extLst>
              <a:ext uri="{FF2B5EF4-FFF2-40B4-BE49-F238E27FC236}">
                <a16:creationId xmlns:a16="http://schemas.microsoft.com/office/drawing/2014/main" id="{9DE415B0-F0C3-4971-8C76-0D54D6407C42}"/>
              </a:ext>
            </a:extLst>
          </p:cNvPr>
          <p:cNvSpPr>
            <a:spLocks noGrp="1"/>
          </p:cNvSpPr>
          <p:nvPr>
            <p:ph type="sldNum" sz="quarter" idx="12"/>
          </p:nvPr>
        </p:nvSpPr>
        <p:spPr>
          <a:xfrm>
            <a:off x="10919012" y="6356350"/>
            <a:ext cx="672354" cy="365125"/>
          </a:xfrm>
          <a:prstGeom prst="rect">
            <a:avLst/>
          </a:prstGeom>
        </p:spPr>
        <p:txBody>
          <a:bodyPr/>
          <a:lstStyle/>
          <a:p>
            <a:fld id="{A53D7EE4-1EDB-42FD-B6B7-A82C9F31F0F4}" type="slidenum">
              <a:rPr lang="en-US" smtClean="0"/>
              <a:t>‹#›</a:t>
            </a:fld>
            <a:endParaRPr lang="en-US"/>
          </a:p>
        </p:txBody>
      </p:sp>
    </p:spTree>
    <p:extLst>
      <p:ext uri="{BB962C8B-B14F-4D97-AF65-F5344CB8AC3E}">
        <p14:creationId xmlns:p14="http://schemas.microsoft.com/office/powerpoint/2010/main" val="3286304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91BECE9-3A03-40B9-9D97-28993E0926CF}"/>
              </a:ext>
            </a:extLst>
          </p:cNvPr>
          <p:cNvGraphicFramePr>
            <a:graphicFrameLocks noChangeAspect="1"/>
          </p:cNvGraphicFramePr>
          <p:nvPr userDrawn="1">
            <p:custDataLst>
              <p:tags r:id="rId1"/>
            </p:custDataLst>
          </p:nvPr>
        </p:nvGraphicFramePr>
        <p:xfrm>
          <a:off x="2119" y="1595"/>
          <a:ext cx="2116" cy="158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691BECE9-3A03-40B9-9D97-28993E0926CF}"/>
                          </a:ext>
                        </a:extLst>
                      </p:cNvPr>
                      <p:cNvPicPr/>
                      <p:nvPr/>
                    </p:nvPicPr>
                    <p:blipFill>
                      <a:blip r:embed="rId4"/>
                      <a:stretch>
                        <a:fillRect/>
                      </a:stretch>
                    </p:blipFill>
                    <p:spPr>
                      <a:xfrm>
                        <a:off x="2119" y="1595"/>
                        <a:ext cx="2116" cy="1587"/>
                      </a:xfrm>
                      <a:prstGeom prst="rect">
                        <a:avLst/>
                      </a:prstGeom>
                    </p:spPr>
                  </p:pic>
                </p:oleObj>
              </mc:Fallback>
            </mc:AlternateContent>
          </a:graphicData>
        </a:graphic>
      </p:graphicFrame>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83F1FA-211D-3044-9E35-958DFBC26156}" type="slidenum">
              <a:rPr kumimoji="0" lang="en-US" sz="9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white"/>
              </a:solidFill>
              <a:effectLst/>
              <a:uLnTx/>
              <a:uFillTx/>
              <a:latin typeface="Calibri"/>
              <a:ea typeface="+mn-ea"/>
              <a:cs typeface="+mn-cs"/>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1" rIns="68580" bIns="34291" rtlCol="0" anchor="ctr"/>
          <a:lstStyle/>
          <a:p>
            <a:pPr marL="0" marR="0" lvl="0" indent="0" algn="ctr" defTabSz="342891"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6"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defRPr>
            </a:lvl1pPr>
          </a:lstStyle>
          <a:p>
            <a:r>
              <a:rPr lang="en-US" sz="2700"/>
              <a:t>Click to edit Slide Maser Style</a:t>
            </a:r>
            <a:endParaRPr lang="en-US" sz="2700" u="sng"/>
          </a:p>
        </p:txBody>
      </p:sp>
    </p:spTree>
    <p:extLst>
      <p:ext uri="{BB962C8B-B14F-4D97-AF65-F5344CB8AC3E}">
        <p14:creationId xmlns:p14="http://schemas.microsoft.com/office/powerpoint/2010/main" val="13816392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A2404A1-BF4E-4858-BD1C-1BEFE71B63DE}"/>
              </a:ext>
            </a:extLst>
          </p:cNvPr>
          <p:cNvSpPr>
            <a:spLocks noGrp="1"/>
          </p:cNvSpPr>
          <p:nvPr>
            <p:ph type="ctrTitle" hasCustomPrompt="1"/>
          </p:nvPr>
        </p:nvSpPr>
        <p:spPr>
          <a:xfrm>
            <a:off x="695325" y="4296094"/>
            <a:ext cx="10782299" cy="1100621"/>
          </a:xfrm>
          <a:prstGeom prst="rect">
            <a:avLst/>
          </a:prstGeom>
        </p:spPr>
        <p:txBody>
          <a:bodyPr>
            <a:normAutofit/>
          </a:bodyPr>
          <a:lstStyle>
            <a:lvl1pPr>
              <a:defRPr>
                <a:solidFill>
                  <a:schemeClr val="bg1"/>
                </a:solidFill>
              </a:defRPr>
            </a:lvl1pPr>
          </a:lstStyle>
          <a:p>
            <a:r>
              <a:rPr lang="en-US"/>
              <a:t>Click to add title</a:t>
            </a:r>
          </a:p>
        </p:txBody>
      </p:sp>
      <p:sp>
        <p:nvSpPr>
          <p:cNvPr id="9" name="Subtitle 2">
            <a:extLst>
              <a:ext uri="{FF2B5EF4-FFF2-40B4-BE49-F238E27FC236}">
                <a16:creationId xmlns:a16="http://schemas.microsoft.com/office/drawing/2014/main" id="{B0053544-3012-4C81-98D6-E2665A3A3F5D}"/>
              </a:ext>
            </a:extLst>
          </p:cNvPr>
          <p:cNvSpPr>
            <a:spLocks noGrp="1"/>
          </p:cNvSpPr>
          <p:nvPr>
            <p:ph type="subTitle" idx="1" hasCustomPrompt="1"/>
          </p:nvPr>
        </p:nvSpPr>
        <p:spPr>
          <a:xfrm>
            <a:off x="695324" y="5533242"/>
            <a:ext cx="9972675" cy="543505"/>
          </a:xfrm>
          <a:prstGeom prst="rect">
            <a:avLst/>
          </a:prstGeom>
        </p:spPr>
        <p:txBody>
          <a:bodyPr anchor="t"/>
          <a:lstStyle>
            <a:lvl1pPr marL="0" indent="0">
              <a:buNone/>
              <a:defRPr sz="1800">
                <a:solidFill>
                  <a:schemeClr val="bg1"/>
                </a:solidFill>
              </a:defRPr>
            </a:lvl1pPr>
          </a:lstStyle>
          <a:p>
            <a:r>
              <a:rPr lang="en-US"/>
              <a:t>Click to add subtitle</a:t>
            </a:r>
          </a:p>
        </p:txBody>
      </p:sp>
      <p:sp>
        <p:nvSpPr>
          <p:cNvPr id="20" name="Picture Placeholder 16">
            <a:extLst>
              <a:ext uri="{FF2B5EF4-FFF2-40B4-BE49-F238E27FC236}">
                <a16:creationId xmlns:a16="http://schemas.microsoft.com/office/drawing/2014/main" id="{C177CBDB-952D-484B-B43B-F988558931C5}"/>
              </a:ext>
            </a:extLst>
          </p:cNvPr>
          <p:cNvSpPr>
            <a:spLocks noGrp="1"/>
          </p:cNvSpPr>
          <p:nvPr>
            <p:ph type="pic" sz="quarter" idx="13" hasCustomPrompt="1"/>
          </p:nvPr>
        </p:nvSpPr>
        <p:spPr>
          <a:xfrm>
            <a:off x="800100" y="727075"/>
            <a:ext cx="5176838" cy="3071813"/>
          </a:xfrm>
          <a:prstGeom prst="rect">
            <a:avLst/>
          </a:prstGeom>
        </p:spPr>
        <p:txBody>
          <a:bodyPr/>
          <a:lstStyle>
            <a:lvl1pPr marL="0" indent="0" algn="ctr">
              <a:buNone/>
              <a:defRPr>
                <a:solidFill>
                  <a:schemeClr val="bg1"/>
                </a:solidFill>
              </a:defRPr>
            </a:lvl1pPr>
          </a:lstStyle>
          <a:p>
            <a:r>
              <a:rPr lang="en-US"/>
              <a:t>Insert photo here</a:t>
            </a:r>
          </a:p>
        </p:txBody>
      </p:sp>
      <p:sp>
        <p:nvSpPr>
          <p:cNvPr id="21" name="Picture Placeholder 18">
            <a:extLst>
              <a:ext uri="{FF2B5EF4-FFF2-40B4-BE49-F238E27FC236}">
                <a16:creationId xmlns:a16="http://schemas.microsoft.com/office/drawing/2014/main" id="{D789E88D-76E7-4745-B062-102E233A6722}"/>
              </a:ext>
            </a:extLst>
          </p:cNvPr>
          <p:cNvSpPr>
            <a:spLocks noGrp="1"/>
          </p:cNvSpPr>
          <p:nvPr>
            <p:ph type="pic" sz="quarter" idx="14" hasCustomPrompt="1"/>
          </p:nvPr>
        </p:nvSpPr>
        <p:spPr>
          <a:xfrm>
            <a:off x="6146800" y="727075"/>
            <a:ext cx="5245100" cy="3070225"/>
          </a:xfrm>
          <a:prstGeom prst="rect">
            <a:avLst/>
          </a:prstGeom>
        </p:spPr>
        <p:txBody>
          <a:bodyPr/>
          <a:lstStyle>
            <a:lvl1pPr marL="0" indent="0" algn="ctr">
              <a:buNone/>
              <a:defRPr>
                <a:solidFill>
                  <a:schemeClr val="bg1"/>
                </a:solidFill>
              </a:defRPr>
            </a:lvl1pPr>
          </a:lstStyle>
          <a:p>
            <a:r>
              <a:rPr lang="en-US"/>
              <a:t>Insert photo here</a:t>
            </a:r>
          </a:p>
        </p:txBody>
      </p:sp>
      <p:cxnSp>
        <p:nvCxnSpPr>
          <p:cNvPr id="12" name="Straight Connector 11">
            <a:extLst>
              <a:ext uri="{FF2B5EF4-FFF2-40B4-BE49-F238E27FC236}">
                <a16:creationId xmlns:a16="http://schemas.microsoft.com/office/drawing/2014/main" id="{433A5CE3-0C01-4DBF-926A-2F9BFD0432AB}"/>
              </a:ext>
              <a:ext uri="{C183D7F6-B498-43B3-948B-1728B52AA6E4}">
                <adec:decorative xmlns:adec="http://schemas.microsoft.com/office/drawing/2017/decorative" val="1"/>
              </a:ext>
            </a:extLst>
          </p:cNvPr>
          <p:cNvCxnSpPr>
            <a:cxnSpLocks/>
          </p:cNvCxnSpPr>
          <p:nvPr userDrawn="1"/>
        </p:nvCxnSpPr>
        <p:spPr>
          <a:xfrm>
            <a:off x="800100" y="4144434"/>
            <a:ext cx="10629900" cy="0"/>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Footer Placeholder 11">
            <a:extLst>
              <a:ext uri="{FF2B5EF4-FFF2-40B4-BE49-F238E27FC236}">
                <a16:creationId xmlns:a16="http://schemas.microsoft.com/office/drawing/2014/main" id="{083D82F8-F43B-4D01-891B-F77BC6F6F877}"/>
              </a:ext>
            </a:extLst>
          </p:cNvPr>
          <p:cNvSpPr>
            <a:spLocks noGrp="1"/>
          </p:cNvSpPr>
          <p:nvPr>
            <p:ph type="ftr" sz="quarter" idx="11"/>
          </p:nvPr>
        </p:nvSpPr>
        <p:spPr>
          <a:xfrm>
            <a:off x="715383" y="6356350"/>
            <a:ext cx="4539727" cy="365125"/>
          </a:xfrm>
        </p:spPr>
        <p:txBody>
          <a:bodyPr/>
          <a:lstStyle>
            <a:lvl1pPr>
              <a:defRPr>
                <a:solidFill>
                  <a:schemeClr val="bg1"/>
                </a:solidFill>
              </a:defRPr>
            </a:lvl1pPr>
          </a:lstStyle>
          <a:p>
            <a:r>
              <a:rPr lang="en-US"/>
              <a:t>PRESENTATION TITLE</a:t>
            </a:r>
          </a:p>
        </p:txBody>
      </p:sp>
      <p:sp>
        <p:nvSpPr>
          <p:cNvPr id="14" name="Date Placeholder 6">
            <a:extLst>
              <a:ext uri="{FF2B5EF4-FFF2-40B4-BE49-F238E27FC236}">
                <a16:creationId xmlns:a16="http://schemas.microsoft.com/office/drawing/2014/main" id="{B8CBC856-A31F-40C2-B7EA-91B860D3066C}"/>
              </a:ext>
            </a:extLst>
          </p:cNvPr>
          <p:cNvSpPr>
            <a:spLocks noGrp="1"/>
          </p:cNvSpPr>
          <p:nvPr>
            <p:ph type="dt" sz="half" idx="10"/>
          </p:nvPr>
        </p:nvSpPr>
        <p:spPr>
          <a:xfrm>
            <a:off x="8369448" y="6356350"/>
            <a:ext cx="2592594" cy="365125"/>
          </a:xfrm>
        </p:spPr>
        <p:txBody>
          <a:bodyPr/>
          <a:lstStyle>
            <a:lvl1pPr>
              <a:defRPr>
                <a:solidFill>
                  <a:schemeClr val="bg1"/>
                </a:solidFill>
              </a:defRPr>
            </a:lvl1pPr>
          </a:lstStyle>
          <a:p>
            <a:r>
              <a:rPr lang="en-US"/>
              <a:t>2/11/20XX</a:t>
            </a:r>
          </a:p>
        </p:txBody>
      </p:sp>
      <p:sp>
        <p:nvSpPr>
          <p:cNvPr id="15" name="Slide Number Placeholder 10">
            <a:extLst>
              <a:ext uri="{FF2B5EF4-FFF2-40B4-BE49-F238E27FC236}">
                <a16:creationId xmlns:a16="http://schemas.microsoft.com/office/drawing/2014/main" id="{966FFB51-C55B-469E-B3C6-1A6369920BE5}"/>
              </a:ext>
            </a:extLst>
          </p:cNvPr>
          <p:cNvSpPr>
            <a:spLocks noGrp="1"/>
          </p:cNvSpPr>
          <p:nvPr>
            <p:ph type="sldNum" sz="quarter" idx="12"/>
          </p:nvPr>
        </p:nvSpPr>
        <p:spPr>
          <a:xfrm>
            <a:off x="10919012" y="6356350"/>
            <a:ext cx="672354" cy="365125"/>
          </a:xfrm>
        </p:spPr>
        <p:txBody>
          <a:bodyPr/>
          <a:lstStyle>
            <a:lvl1pPr>
              <a:defRPr>
                <a:solidFill>
                  <a:schemeClr val="bg1"/>
                </a:solidFill>
              </a:defRPr>
            </a:lvl1pPr>
          </a:lstStyle>
          <a:p>
            <a:fld id="{A53D7EE4-1EDB-42FD-B6B7-A82C9F31F0F4}" type="slidenum">
              <a:rPr lang="en-US" smtClean="0"/>
              <a:pPr/>
              <a:t>‹#›</a:t>
            </a:fld>
            <a:endParaRPr lang="en-US"/>
          </a:p>
        </p:txBody>
      </p:sp>
    </p:spTree>
    <p:extLst>
      <p:ext uri="{BB962C8B-B14F-4D97-AF65-F5344CB8AC3E}">
        <p14:creationId xmlns:p14="http://schemas.microsoft.com/office/powerpoint/2010/main" val="24367614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Headings">
    <p:spTree>
      <p:nvGrpSpPr>
        <p:cNvPr id="1" name=""/>
        <p:cNvGrpSpPr/>
        <p:nvPr/>
      </p:nvGrpSpPr>
      <p:grpSpPr>
        <a:xfrm>
          <a:off x="0" y="0"/>
          <a:ext cx="0" cy="0"/>
          <a:chOff x="0" y="0"/>
          <a:chExt cx="0" cy="0"/>
        </a:xfrm>
      </p:grpSpPr>
      <p:sp>
        <p:nvSpPr>
          <p:cNvPr id="7" name="Slide Title"/>
          <p:cNvSpPr>
            <a:spLocks noGrp="1"/>
          </p:cNvSpPr>
          <p:nvPr>
            <p:ph type="title" hasCustomPrompt="1"/>
          </p:nvPr>
        </p:nvSpPr>
        <p:spPr>
          <a:xfrm>
            <a:off x="841248" y="374904"/>
            <a:ext cx="10521696" cy="686924"/>
          </a:xfrm>
          <a:prstGeom prst="rect">
            <a:avLst/>
          </a:prstGeom>
        </p:spPr>
        <p:txBody>
          <a:bodyPr>
            <a:noAutofit/>
          </a:bodyPr>
          <a:lstStyle>
            <a:lvl1pPr>
              <a:defRPr baseline="0">
                <a:solidFill>
                  <a:srgbClr val="1F1F1F"/>
                </a:solidFill>
              </a:defRPr>
            </a:lvl1pPr>
          </a:lstStyle>
          <a:p>
            <a:r>
              <a:rPr lang="en-US"/>
              <a:t>Insert Title, 28pt Calibri Bold (Color: RGB 33, 33, 33)</a:t>
            </a:r>
          </a:p>
        </p:txBody>
      </p:sp>
      <p:sp>
        <p:nvSpPr>
          <p:cNvPr id="12" name="Heading Placeholder 1"/>
          <p:cNvSpPr>
            <a:spLocks noGrp="1"/>
          </p:cNvSpPr>
          <p:nvPr>
            <p:ph type="body" sz="quarter" idx="12" hasCustomPrompt="1"/>
          </p:nvPr>
        </p:nvSpPr>
        <p:spPr>
          <a:xfrm>
            <a:off x="840317" y="1197864"/>
            <a:ext cx="10521696" cy="411480"/>
          </a:xfrm>
          <a:prstGeom prst="rect">
            <a:avLst/>
          </a:prstGeo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200" b="1" kern="1200" baseline="0" dirty="0" smtClean="0">
                <a:solidFill>
                  <a:srgbClr val="1F1F1F"/>
                </a:solidFill>
                <a:latin typeface="+mn-lt"/>
                <a:ea typeface="+mn-ea"/>
                <a:cs typeface="+mn-cs"/>
              </a:defRPr>
            </a:lvl1pPr>
            <a:lvl2pPr marL="457200" indent="0">
              <a:buNone/>
              <a:defRPr/>
            </a:lvl2pPr>
            <a:lvl3pPr marL="914400" indent="0">
              <a:buNone/>
              <a:defRPr/>
            </a:lvl3pPr>
            <a:lvl4pPr marL="1371600" indent="0">
              <a:buNone/>
              <a:defRPr/>
            </a:lvl4pPr>
            <a:lvl5pPr marL="1828800" indent="0">
              <a:buNone/>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Insert Heading, 22pt Calibri Bold (Color: RGB 33, 33, 33)</a:t>
            </a:r>
          </a:p>
        </p:txBody>
      </p:sp>
      <p:sp>
        <p:nvSpPr>
          <p:cNvPr id="16" name="Content Placeholder 1"/>
          <p:cNvSpPr>
            <a:spLocks noGrp="1"/>
          </p:cNvSpPr>
          <p:nvPr>
            <p:ph sz="quarter" idx="13" hasCustomPrompt="1"/>
          </p:nvPr>
        </p:nvSpPr>
        <p:spPr>
          <a:xfrm>
            <a:off x="835027" y="1744746"/>
            <a:ext cx="10521949" cy="1993392"/>
          </a:xfrm>
          <a:prstGeom prst="rect">
            <a:avLst/>
          </a:prstGeom>
        </p:spPr>
        <p:txBody>
          <a:bodyPr>
            <a:no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000"/>
            </a:lvl1pPr>
            <a:lvl2pPr marL="685800" marR="0" indent="-228600" algn="l" defTabSz="914400" rtl="0" eaLnBrk="1" fontAlgn="auto" latinLnBrk="0" hangingPunct="1">
              <a:lnSpc>
                <a:spcPct val="90000"/>
              </a:lnSpc>
              <a:spcBef>
                <a:spcPts val="500"/>
              </a:spcBef>
              <a:spcAft>
                <a:spcPts val="0"/>
              </a:spcAft>
              <a:buClrTx/>
              <a:buSzTx/>
              <a:buFont typeface="CambriaMath" charset="0"/>
              <a:buChar char="⎯"/>
              <a:tabLst/>
              <a:defRPr sz="2000"/>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2000"/>
            </a:lvl3pPr>
            <a:lvl4pPr marL="1600200" marR="0" indent="-228600" algn="l" defTabSz="914400" rtl="0" eaLnBrk="1" fontAlgn="auto" latinLnBrk="0" hangingPunct="1">
              <a:lnSpc>
                <a:spcPct val="90000"/>
              </a:lnSpc>
              <a:spcBef>
                <a:spcPts val="500"/>
              </a:spcBef>
              <a:spcAft>
                <a:spcPts val="0"/>
              </a:spcAft>
              <a:buClrTx/>
              <a:buSzTx/>
              <a:buFont typeface=".AppleSystemUIFont" charset="-120"/>
              <a:buChar char="»"/>
              <a:tabLst/>
              <a:defRPr sz="2000"/>
            </a:lvl4pPr>
            <a:lvl5pPr>
              <a:defRPr sz="2000"/>
            </a:lvl5pPr>
          </a:lstStyle>
          <a:p>
            <a:pPr lvl="0"/>
            <a:r>
              <a:rPr lang="en-US"/>
              <a:t>Body Text no smaller than 18pt font, Calibri Regular</a:t>
            </a:r>
          </a:p>
          <a:p>
            <a:pPr lvl="1"/>
            <a:r>
              <a:rPr lang="en-US"/>
              <a:t>Second level</a:t>
            </a:r>
          </a:p>
          <a:p>
            <a:pPr lvl="2"/>
            <a:r>
              <a:rPr lang="en-US"/>
              <a:t>Third level</a:t>
            </a:r>
          </a:p>
          <a:p>
            <a:pPr lvl="3"/>
            <a:r>
              <a:rPr lang="en-US"/>
              <a:t>Fourth level</a:t>
            </a:r>
          </a:p>
        </p:txBody>
      </p:sp>
      <p:sp>
        <p:nvSpPr>
          <p:cNvPr id="17" name="Heading Placeholder 2"/>
          <p:cNvSpPr>
            <a:spLocks noGrp="1"/>
          </p:cNvSpPr>
          <p:nvPr>
            <p:ph type="body" sz="quarter" idx="14" hasCustomPrompt="1"/>
          </p:nvPr>
        </p:nvSpPr>
        <p:spPr>
          <a:xfrm>
            <a:off x="840317" y="3634948"/>
            <a:ext cx="10521696" cy="411480"/>
          </a:xfrm>
          <a:prstGeom prst="rect">
            <a:avLst/>
          </a:prstGeo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200" b="1" kern="1200" baseline="0" dirty="0" smtClean="0">
                <a:solidFill>
                  <a:srgbClr val="1F1F1F"/>
                </a:solidFill>
                <a:latin typeface="+mn-lt"/>
                <a:ea typeface="+mn-ea"/>
                <a:cs typeface="+mn-cs"/>
              </a:defRPr>
            </a:lvl1pPr>
            <a:lvl2pPr marL="457200" indent="0">
              <a:buNone/>
              <a:defRPr/>
            </a:lvl2pPr>
            <a:lvl3pPr marL="914400" indent="0">
              <a:buNone/>
              <a:defRPr/>
            </a:lvl3pPr>
            <a:lvl4pPr marL="1371600" indent="0">
              <a:buNone/>
              <a:defRPr/>
            </a:lvl4pPr>
            <a:lvl5pPr marL="1828800" indent="0">
              <a:buNone/>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Insert Heading, 22pt Calibri Bold (Color: RGB 33, 33, 33)</a:t>
            </a:r>
          </a:p>
        </p:txBody>
      </p:sp>
      <p:sp>
        <p:nvSpPr>
          <p:cNvPr id="18" name="Content Placeholder 2"/>
          <p:cNvSpPr>
            <a:spLocks noGrp="1"/>
          </p:cNvSpPr>
          <p:nvPr>
            <p:ph sz="quarter" idx="15" hasCustomPrompt="1"/>
          </p:nvPr>
        </p:nvSpPr>
        <p:spPr>
          <a:xfrm>
            <a:off x="840319" y="4054882"/>
            <a:ext cx="10521949" cy="1928313"/>
          </a:xfrm>
          <a:prstGeom prst="rect">
            <a:avLst/>
          </a:prstGeom>
        </p:spPr>
        <p:txBody>
          <a:bodyPr>
            <a:no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000"/>
            </a:lvl1pPr>
            <a:lvl2pPr marL="685800" marR="0" indent="-228600" algn="l" defTabSz="914400" rtl="0" eaLnBrk="1" fontAlgn="auto" latinLnBrk="0" hangingPunct="1">
              <a:lnSpc>
                <a:spcPct val="90000"/>
              </a:lnSpc>
              <a:spcBef>
                <a:spcPts val="500"/>
              </a:spcBef>
              <a:spcAft>
                <a:spcPts val="0"/>
              </a:spcAft>
              <a:buClrTx/>
              <a:buSzTx/>
              <a:buFont typeface="CambriaMath" charset="0"/>
              <a:buChar char="⎯"/>
              <a:tabLst/>
              <a:defRPr sz="2000"/>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2000"/>
            </a:lvl3pPr>
            <a:lvl4pPr marL="1600200" marR="0" indent="-228600" algn="l" defTabSz="914400" rtl="0" eaLnBrk="1" fontAlgn="auto" latinLnBrk="0" hangingPunct="1">
              <a:lnSpc>
                <a:spcPct val="90000"/>
              </a:lnSpc>
              <a:spcBef>
                <a:spcPts val="500"/>
              </a:spcBef>
              <a:spcAft>
                <a:spcPts val="0"/>
              </a:spcAft>
              <a:buClrTx/>
              <a:buSzTx/>
              <a:buFont typeface=".AppleSystemUIFont" charset="-120"/>
              <a:buChar char="»"/>
              <a:tabLst/>
              <a:defRPr sz="2000"/>
            </a:lvl4pPr>
            <a:lvl5pPr>
              <a:defRPr sz="2000"/>
            </a:lvl5pPr>
          </a:lstStyle>
          <a:p>
            <a:pPr lvl="0"/>
            <a:r>
              <a:rPr lang="en-US"/>
              <a:t>Body Text no smaller than 18pt font, Calibri Regular</a:t>
            </a:r>
          </a:p>
          <a:p>
            <a:pPr lvl="1"/>
            <a:r>
              <a:rPr lang="en-US"/>
              <a:t>Second level</a:t>
            </a:r>
          </a:p>
          <a:p>
            <a:pPr lvl="2"/>
            <a:r>
              <a:rPr lang="en-US"/>
              <a:t>Third level</a:t>
            </a:r>
          </a:p>
          <a:p>
            <a:pPr lvl="3"/>
            <a:r>
              <a:rPr lang="en-US"/>
              <a:t>Fourth level</a:t>
            </a:r>
          </a:p>
        </p:txBody>
      </p:sp>
      <p:sp>
        <p:nvSpPr>
          <p:cNvPr id="3" name="Slide Number Placeholder"/>
          <p:cNvSpPr>
            <a:spLocks noGrp="1"/>
          </p:cNvSpPr>
          <p:nvPr>
            <p:ph type="sldNum" sz="quarter" idx="10"/>
          </p:nvPr>
        </p:nvSpPr>
        <p:spPr/>
        <p:txBody>
          <a:bodyPr/>
          <a:lstStyle/>
          <a:p>
            <a:fld id="{E573346A-FCA4-684E-8D18-26E8324063ED}" type="slidenum">
              <a:rPr lang="en-US" smtClean="0"/>
              <a:t>‹#›</a:t>
            </a:fld>
            <a:endParaRPr lang="en-US"/>
          </a:p>
        </p:txBody>
      </p:sp>
      <p:sp>
        <p:nvSpPr>
          <p:cNvPr id="13" name="Footer">
            <a:extLst>
              <a:ext uri="{FF2B5EF4-FFF2-40B4-BE49-F238E27FC236}">
                <a16:creationId xmlns:a16="http://schemas.microsoft.com/office/drawing/2014/main" id="{C94FEA1A-DC6B-E049-8355-7A62A5E58DAD}"/>
              </a:ext>
            </a:extLst>
          </p:cNvPr>
          <p:cNvSpPr>
            <a:spLocks noGrp="1"/>
          </p:cNvSpPr>
          <p:nvPr>
            <p:ph type="ftr" sz="quarter" idx="3"/>
          </p:nvPr>
        </p:nvSpPr>
        <p:spPr>
          <a:xfrm>
            <a:off x="835154" y="6028292"/>
            <a:ext cx="7531716"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FOR INTERNAL USE ONLY		Office of Information and Technology</a:t>
            </a:r>
          </a:p>
        </p:txBody>
      </p:sp>
      <p:pic>
        <p:nvPicPr>
          <p:cNvPr id="10" name="Picture 9">
            <a:extLst>
              <a:ext uri="{FF2B5EF4-FFF2-40B4-BE49-F238E27FC236}">
                <a16:creationId xmlns:a16="http://schemas.microsoft.com/office/drawing/2014/main" id="{7FE6DD95-4192-F848-826E-61F2F00C54F2}"/>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6528816"/>
            <a:ext cx="12192000" cy="329184"/>
          </a:xfrm>
          <a:prstGeom prst="rect">
            <a:avLst/>
          </a:prstGeom>
        </p:spPr>
      </p:pic>
      <p:pic>
        <p:nvPicPr>
          <p:cNvPr id="11" name="Picture 10">
            <a:extLst>
              <a:ext uri="{FF2B5EF4-FFF2-40B4-BE49-F238E27FC236}">
                <a16:creationId xmlns:a16="http://schemas.microsoft.com/office/drawing/2014/main" id="{6E824094-0407-4A92-BA63-BF06FF72028C}"/>
              </a:ext>
              <a:ext uri="{C183D7F6-B498-43B3-948B-1728B52AA6E4}">
                <adec:decorative xmlns:adec="http://schemas.microsoft.com/office/drawing/2017/decorative" val="1"/>
              </a:ext>
            </a:extLst>
          </p:cNvPr>
          <p:cNvPicPr>
            <a:picLocks noChangeAspect="1"/>
          </p:cNvPicPr>
          <p:nvPr userDrawn="1"/>
        </p:nvPicPr>
        <p:blipFill rotWithShape="1">
          <a:blip r:embed="rId2"/>
          <a:srcRect l="-598" t="6015" r="48763" b="-6015"/>
          <a:stretch/>
        </p:blipFill>
        <p:spPr>
          <a:xfrm>
            <a:off x="-142042" y="0"/>
            <a:ext cx="12334043" cy="642464"/>
          </a:xfrm>
          <a:prstGeom prst="rect">
            <a:avLst/>
          </a:prstGeom>
        </p:spPr>
      </p:pic>
    </p:spTree>
    <p:extLst>
      <p:ext uri="{BB962C8B-B14F-4D97-AF65-F5344CB8AC3E}">
        <p14:creationId xmlns:p14="http://schemas.microsoft.com/office/powerpoint/2010/main" val="12288489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 Image Right">
    <p:spTree>
      <p:nvGrpSpPr>
        <p:cNvPr id="1" name=""/>
        <p:cNvGrpSpPr/>
        <p:nvPr/>
      </p:nvGrpSpPr>
      <p:grpSpPr>
        <a:xfrm>
          <a:off x="0" y="0"/>
          <a:ext cx="0" cy="0"/>
          <a:chOff x="0" y="0"/>
          <a:chExt cx="0" cy="0"/>
        </a:xfrm>
      </p:grpSpPr>
      <p:sp>
        <p:nvSpPr>
          <p:cNvPr id="7" name="Content Placeholder 6"/>
          <p:cNvSpPr>
            <a:spLocks noGrp="1"/>
          </p:cNvSpPr>
          <p:nvPr>
            <p:ph sz="quarter" idx="12" hasCustomPrompt="1"/>
          </p:nvPr>
        </p:nvSpPr>
        <p:spPr>
          <a:xfrm>
            <a:off x="838202" y="1354141"/>
            <a:ext cx="5535084" cy="4352925"/>
          </a:xfrm>
          <a:prstGeom prst="rect">
            <a:avLst/>
          </a:prstGeom>
        </p:spPr>
        <p:txBody>
          <a:bodyPr/>
          <a:lstStyle/>
          <a:p>
            <a:pPr lvl="0"/>
            <a:r>
              <a:rPr lang="en-US"/>
              <a:t>Body Text no smaller than 18pt font, Calibri Regular</a:t>
            </a:r>
          </a:p>
          <a:p>
            <a:pPr lvl="1"/>
            <a:r>
              <a:rPr lang="en-US"/>
              <a:t>Second level</a:t>
            </a:r>
          </a:p>
          <a:p>
            <a:pPr lvl="2"/>
            <a:r>
              <a:rPr lang="en-US"/>
              <a:t>Third level</a:t>
            </a:r>
          </a:p>
          <a:p>
            <a:pPr lvl="3"/>
            <a:r>
              <a:rPr lang="en-US"/>
              <a:t>Fourth level</a:t>
            </a:r>
          </a:p>
        </p:txBody>
      </p:sp>
      <p:sp>
        <p:nvSpPr>
          <p:cNvPr id="9" name="Content Placeholder 8"/>
          <p:cNvSpPr>
            <a:spLocks noGrp="1"/>
          </p:cNvSpPr>
          <p:nvPr>
            <p:ph sz="quarter" idx="13" hasCustomPrompt="1"/>
          </p:nvPr>
        </p:nvSpPr>
        <p:spPr>
          <a:xfrm>
            <a:off x="6635753" y="1354141"/>
            <a:ext cx="4718049" cy="4352925"/>
          </a:xfrm>
          <a:prstGeom prst="rect">
            <a:avLst/>
          </a:prstGeom>
        </p:spPr>
        <p:txBody>
          <a:bodyPr/>
          <a:lstStyle>
            <a:lvl1pPr>
              <a:defRPr baseline="0"/>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Place image here</a:t>
            </a:r>
          </a:p>
        </p:txBody>
      </p:sp>
      <p:sp>
        <p:nvSpPr>
          <p:cNvPr id="10" name="Text Placeholder 6">
            <a:extLst>
              <a:ext uri="{FF2B5EF4-FFF2-40B4-BE49-F238E27FC236}">
                <a16:creationId xmlns:a16="http://schemas.microsoft.com/office/drawing/2014/main" id="{7FA9645C-480D-5546-9215-E1AA58D52B4D}"/>
              </a:ext>
            </a:extLst>
          </p:cNvPr>
          <p:cNvSpPr>
            <a:spLocks noGrp="1"/>
          </p:cNvSpPr>
          <p:nvPr>
            <p:ph type="body" sz="quarter" idx="14"/>
          </p:nvPr>
        </p:nvSpPr>
        <p:spPr>
          <a:xfrm>
            <a:off x="-5560480" y="915234"/>
            <a:ext cx="5141384" cy="2376609"/>
          </a:xfrm>
          <a:prstGeom prst="rect">
            <a:avLst/>
          </a:prstGeom>
        </p:spPr>
        <p:txBody>
          <a:bodyPr/>
          <a:lstStyle/>
          <a:p>
            <a:r>
              <a:rPr lang="en-US"/>
              <a:t>Add alt-text</a:t>
            </a:r>
          </a:p>
        </p:txBody>
      </p:sp>
      <p:sp>
        <p:nvSpPr>
          <p:cNvPr id="3" name="Slide Number Placeholder 2"/>
          <p:cNvSpPr>
            <a:spLocks noGrp="1"/>
          </p:cNvSpPr>
          <p:nvPr>
            <p:ph type="sldNum" sz="quarter" idx="10"/>
          </p:nvPr>
        </p:nvSpPr>
        <p:spPr/>
        <p:txBody>
          <a:bodyPr/>
          <a:lstStyle/>
          <a:p>
            <a:fld id="{E573346A-FCA4-684E-8D18-26E8324063ED}" type="slidenum">
              <a:rPr lang="en-US" smtClean="0"/>
              <a:t>‹#›</a:t>
            </a:fld>
            <a:endParaRPr lang="en-US"/>
          </a:p>
        </p:txBody>
      </p:sp>
      <p:pic>
        <p:nvPicPr>
          <p:cNvPr id="12" name="Picture 11">
            <a:extLst>
              <a:ext uri="{FF2B5EF4-FFF2-40B4-BE49-F238E27FC236}">
                <a16:creationId xmlns:a16="http://schemas.microsoft.com/office/drawing/2014/main" id="{8654FAA4-835C-424D-914C-B90AAFFD8919}"/>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6528816"/>
            <a:ext cx="12192000" cy="329184"/>
          </a:xfrm>
          <a:prstGeom prst="rect">
            <a:avLst/>
          </a:prstGeom>
        </p:spPr>
      </p:pic>
      <p:sp>
        <p:nvSpPr>
          <p:cNvPr id="4" name="Title 3">
            <a:extLst>
              <a:ext uri="{FF2B5EF4-FFF2-40B4-BE49-F238E27FC236}">
                <a16:creationId xmlns:a16="http://schemas.microsoft.com/office/drawing/2014/main" id="{4110CD37-B177-4C5A-A9ED-4CD3C5A8CAE6}"/>
              </a:ext>
            </a:extLst>
          </p:cNvPr>
          <p:cNvSpPr>
            <a:spLocks noGrp="1"/>
          </p:cNvSpPr>
          <p:nvPr>
            <p:ph type="title"/>
          </p:nvPr>
        </p:nvSpPr>
        <p:spPr>
          <a:xfrm>
            <a:off x="838200" y="374904"/>
            <a:ext cx="10515600" cy="6858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2597962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D7BCEC-E989-4183-95E9-7A79BC90C684}"/>
              </a:ext>
            </a:extLst>
          </p:cNvPr>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1CD7BCEC-E989-4183-95E9-7A79BC90C684}"/>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20B8E55-B9DB-4840-93D5-17A6AEA62228}"/>
              </a:ext>
            </a:extLst>
          </p:cNvPr>
          <p:cNvSpPr/>
          <p:nvPr userDrawn="1">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2700" b="1">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3" name="Slide Number Placeholder 2"/>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defTabSz="342900"/>
            <a:fld id="{D983F1FA-211D-3044-9E35-958DFBC26156}" type="slidenum">
              <a:rPr lang="en-US" smtClean="0">
                <a:solidFill>
                  <a:prstClr val="white"/>
                </a:solidFill>
              </a:rPr>
              <a:pPr defTabSz="342900"/>
              <a:t>‹#›</a:t>
            </a:fld>
            <a:endParaRPr lang="en-US">
              <a:solidFill>
                <a:prstClr val="white"/>
              </a:solidFill>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fontAlgn="base">
              <a:spcBef>
                <a:spcPct val="0"/>
              </a:spcBef>
              <a:spcAft>
                <a:spcPct val="0"/>
              </a:spcAft>
            </a:pPr>
            <a:endParaRPr lang="en-US" sz="135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5"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2700"/>
              <a:t>Click to edit Slide Master Style</a:t>
            </a:r>
            <a:endParaRPr lang="en-US" sz="2700" u="sng"/>
          </a:p>
        </p:txBody>
      </p:sp>
    </p:spTree>
    <p:extLst>
      <p:ext uri="{BB962C8B-B14F-4D97-AF65-F5344CB8AC3E}">
        <p14:creationId xmlns:p14="http://schemas.microsoft.com/office/powerpoint/2010/main" val="23074359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A232F51-047C-49B7-BCD6-1354248E32A3}"/>
              </a:ext>
            </a:extLst>
          </p:cNvPr>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CA232F51-047C-49B7-BCD6-1354248E32A3}"/>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81907D9-2698-4DD3-B08E-45A9807BDF60}"/>
              </a:ext>
            </a:extLst>
          </p:cNvPr>
          <p:cNvSpPr/>
          <p:nvPr userDrawn="1">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330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ctrTitle"/>
          </p:nvPr>
        </p:nvSpPr>
        <p:spPr>
          <a:xfrm>
            <a:off x="914400" y="2130524"/>
            <a:ext cx="10363200" cy="1470025"/>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latin typeface="Arial" panose="020B0604020202020204" pitchFamily="34" charset="0"/>
                <a:cs typeface="Arial" panose="020B0604020202020204" pitchFamily="34" charset="0"/>
                <a:sym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7414613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0E658E0-7378-4E50-8854-190E0019B96D}"/>
              </a:ext>
            </a:extLst>
          </p:cNvPr>
          <p:cNvGraphicFramePr>
            <a:graphicFrameLocks noChangeAspect="1"/>
          </p:cNvGraphicFramePr>
          <p:nvPr userDrawn="1">
            <p:custDataLst>
              <p:tags r:id="rId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F0E658E0-7378-4E50-8854-190E0019B96D}"/>
                          </a:ext>
                        </a:extLst>
                      </p:cNvPr>
                      <p:cNvPicPr/>
                      <p:nvPr/>
                    </p:nvPicPr>
                    <p:blipFill>
                      <a:blip r:embed="rId5"/>
                      <a:stretch>
                        <a:fillRect/>
                      </a:stretch>
                    </p:blipFill>
                    <p:spPr>
                      <a:xfrm>
                        <a:off x="2119" y="1593"/>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304BA5F-7905-4062-975E-071EC675F8E3}"/>
              </a:ext>
            </a:extLst>
          </p:cNvPr>
          <p:cNvSpPr/>
          <p:nvPr userDrawn="1">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2700" b="1">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3" name="Content Placeholder 2"/>
          <p:cNvSpPr>
            <a:spLocks noGrp="1"/>
          </p:cNvSpPr>
          <p:nvPr>
            <p:ph idx="1"/>
          </p:nvPr>
        </p:nvSpPr>
        <p:spPr>
          <a:xfrm>
            <a:off x="609600" y="990605"/>
            <a:ext cx="10972800" cy="4525963"/>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a:solidFill>
                <a:prstClr val="white"/>
              </a:solidFill>
            </a:endParaRPr>
          </a:p>
        </p:txBody>
      </p:sp>
      <p:sp>
        <p:nvSpPr>
          <p:cNvPr id="5" name="Rectangle 4"/>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fontAlgn="base">
              <a:spcBef>
                <a:spcPct val="0"/>
              </a:spcBef>
              <a:spcAft>
                <a:spcPct val="0"/>
              </a:spcAft>
            </a:pPr>
            <a:endParaRPr lang="en-US" sz="135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7"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2700"/>
              <a:t>Click to edit Slide Master Style</a:t>
            </a:r>
            <a:endParaRPr lang="en-US" sz="2700" u="sng"/>
          </a:p>
        </p:txBody>
      </p:sp>
      <p:sp>
        <p:nvSpPr>
          <p:cNvPr id="8" name="object 7">
            <a:extLst>
              <a:ext uri="{FF2B5EF4-FFF2-40B4-BE49-F238E27FC236}">
                <a16:creationId xmlns:a16="http://schemas.microsoft.com/office/drawing/2014/main" id="{DE6E9602-8FB9-4278-96EF-1140A563ECA3}"/>
              </a:ext>
            </a:extLst>
          </p:cNvPr>
          <p:cNvSpPr txBox="1"/>
          <p:nvPr userDrawn="1"/>
        </p:nvSpPr>
        <p:spPr>
          <a:xfrm>
            <a:off x="3301136" y="6396811"/>
            <a:ext cx="5076642" cy="197490"/>
          </a:xfrm>
          <a:prstGeom prst="rect">
            <a:avLst/>
          </a:prstGeom>
        </p:spPr>
        <p:txBody>
          <a:bodyPr vert="horz" wrap="square" lIns="0" tIns="12700" rIns="0" bIns="0" rtlCol="0">
            <a:spAutoFit/>
          </a:bodyPr>
          <a:lstStyle/>
          <a:p>
            <a:pPr marL="12700">
              <a:spcBef>
                <a:spcPts val="100"/>
              </a:spcBef>
            </a:pPr>
            <a:r>
              <a:rPr sz="1200" spc="-10">
                <a:solidFill>
                  <a:schemeClr val="bg1"/>
                </a:solidFill>
                <a:latin typeface="Arial"/>
                <a:cs typeface="Arial"/>
              </a:rPr>
              <a:t>Draft</a:t>
            </a:r>
            <a:r>
              <a:rPr sz="1200" spc="-25">
                <a:solidFill>
                  <a:schemeClr val="bg1"/>
                </a:solidFill>
                <a:latin typeface="Arial"/>
                <a:cs typeface="Arial"/>
              </a:rPr>
              <a:t> </a:t>
            </a:r>
            <a:r>
              <a:rPr sz="1200">
                <a:solidFill>
                  <a:schemeClr val="bg1"/>
                </a:solidFill>
                <a:latin typeface="Arial"/>
                <a:cs typeface="Arial"/>
              </a:rPr>
              <a:t>-</a:t>
            </a:r>
            <a:r>
              <a:rPr sz="1200" spc="10">
                <a:solidFill>
                  <a:schemeClr val="bg1"/>
                </a:solidFill>
                <a:latin typeface="Arial"/>
                <a:cs typeface="Arial"/>
              </a:rPr>
              <a:t> </a:t>
            </a:r>
            <a:r>
              <a:rPr sz="1200" spc="-10">
                <a:solidFill>
                  <a:schemeClr val="bg1"/>
                </a:solidFill>
                <a:latin typeface="Arial"/>
                <a:cs typeface="Arial"/>
              </a:rPr>
              <a:t>Pre-Decisional</a:t>
            </a:r>
            <a:r>
              <a:rPr sz="1200" spc="-35">
                <a:solidFill>
                  <a:schemeClr val="bg1"/>
                </a:solidFill>
                <a:latin typeface="Arial"/>
                <a:cs typeface="Arial"/>
              </a:rPr>
              <a:t> </a:t>
            </a:r>
            <a:r>
              <a:rPr sz="1200" spc="-10">
                <a:solidFill>
                  <a:schemeClr val="bg1"/>
                </a:solidFill>
                <a:latin typeface="Arial"/>
                <a:cs typeface="Arial"/>
              </a:rPr>
              <a:t>Deliberative</a:t>
            </a:r>
            <a:r>
              <a:rPr sz="1200" spc="-45">
                <a:solidFill>
                  <a:schemeClr val="bg1"/>
                </a:solidFill>
                <a:latin typeface="Arial"/>
                <a:cs typeface="Arial"/>
              </a:rPr>
              <a:t> </a:t>
            </a:r>
            <a:r>
              <a:rPr sz="1200" spc="-10">
                <a:solidFill>
                  <a:schemeClr val="bg1"/>
                </a:solidFill>
                <a:latin typeface="Arial"/>
                <a:cs typeface="Arial"/>
              </a:rPr>
              <a:t>Document</a:t>
            </a:r>
            <a:r>
              <a:rPr sz="1200" spc="-60">
                <a:solidFill>
                  <a:schemeClr val="bg1"/>
                </a:solidFill>
                <a:latin typeface="Arial"/>
                <a:cs typeface="Arial"/>
              </a:rPr>
              <a:t> </a:t>
            </a:r>
            <a:r>
              <a:rPr sz="1200">
                <a:solidFill>
                  <a:schemeClr val="bg1"/>
                </a:solidFill>
                <a:latin typeface="Arial"/>
                <a:cs typeface="Arial"/>
              </a:rPr>
              <a:t>–</a:t>
            </a:r>
            <a:r>
              <a:rPr sz="1200" spc="-5">
                <a:solidFill>
                  <a:schemeClr val="bg1"/>
                </a:solidFill>
                <a:latin typeface="Arial"/>
                <a:cs typeface="Arial"/>
              </a:rPr>
              <a:t> </a:t>
            </a:r>
            <a:r>
              <a:rPr sz="1200" spc="-10">
                <a:solidFill>
                  <a:schemeClr val="bg1"/>
                </a:solidFill>
                <a:latin typeface="Arial"/>
                <a:cs typeface="Arial"/>
              </a:rPr>
              <a:t>Internal</a:t>
            </a:r>
            <a:r>
              <a:rPr sz="1200" spc="-35">
                <a:solidFill>
                  <a:schemeClr val="bg1"/>
                </a:solidFill>
                <a:latin typeface="Arial"/>
                <a:cs typeface="Arial"/>
              </a:rPr>
              <a:t> </a:t>
            </a:r>
            <a:r>
              <a:rPr sz="1200" spc="-5">
                <a:solidFill>
                  <a:schemeClr val="bg1"/>
                </a:solidFill>
                <a:latin typeface="Arial"/>
                <a:cs typeface="Arial"/>
              </a:rPr>
              <a:t>VA</a:t>
            </a:r>
            <a:r>
              <a:rPr sz="1200" spc="-25">
                <a:solidFill>
                  <a:schemeClr val="bg1"/>
                </a:solidFill>
                <a:latin typeface="Arial"/>
                <a:cs typeface="Arial"/>
              </a:rPr>
              <a:t> </a:t>
            </a:r>
            <a:r>
              <a:rPr sz="1200">
                <a:solidFill>
                  <a:schemeClr val="bg1"/>
                </a:solidFill>
                <a:latin typeface="Arial"/>
                <a:cs typeface="Arial"/>
              </a:rPr>
              <a:t>Use</a:t>
            </a:r>
            <a:r>
              <a:rPr sz="1200" spc="-30">
                <a:solidFill>
                  <a:schemeClr val="bg1"/>
                </a:solidFill>
                <a:latin typeface="Arial"/>
                <a:cs typeface="Arial"/>
              </a:rPr>
              <a:t> </a:t>
            </a:r>
            <a:r>
              <a:rPr sz="1200" spc="-10">
                <a:solidFill>
                  <a:schemeClr val="bg1"/>
                </a:solidFill>
                <a:latin typeface="Arial"/>
                <a:cs typeface="Arial"/>
              </a:rPr>
              <a:t>Only</a:t>
            </a:r>
            <a:endParaRPr sz="1200">
              <a:solidFill>
                <a:schemeClr val="bg1"/>
              </a:solidFill>
              <a:latin typeface="Arial"/>
              <a:cs typeface="Arial"/>
            </a:endParaRPr>
          </a:p>
        </p:txBody>
      </p:sp>
    </p:spTree>
    <p:extLst>
      <p:ext uri="{BB962C8B-B14F-4D97-AF65-F5344CB8AC3E}">
        <p14:creationId xmlns:p14="http://schemas.microsoft.com/office/powerpoint/2010/main" val="3761009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91BECE9-3A03-40B9-9D97-28993E0926CF}"/>
              </a:ext>
            </a:extLst>
          </p:cNvPr>
          <p:cNvGraphicFramePr>
            <a:graphicFrameLocks noChangeAspect="1"/>
          </p:cNvGraphicFramePr>
          <p:nvPr userDrawn="1">
            <p:custDataLst>
              <p:tags r:id="rId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691BECE9-3A03-40B9-9D97-28993E0926CF}"/>
                          </a:ext>
                        </a:extLst>
                      </p:cNvPr>
                      <p:cNvPicPr/>
                      <p:nvPr/>
                    </p:nvPicPr>
                    <p:blipFill>
                      <a:blip r:embed="rId5"/>
                      <a:stretch>
                        <a:fillRect/>
                      </a:stretch>
                    </p:blipFill>
                    <p:spPr>
                      <a:xfrm>
                        <a:off x="2119" y="1593"/>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869541E-D74D-49D9-AD8E-B0D36B9587D9}"/>
              </a:ext>
            </a:extLst>
          </p:cNvPr>
          <p:cNvSpPr/>
          <p:nvPr userDrawn="1">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2700" b="1">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a:solidFill>
                <a:prstClr val="white"/>
              </a:solidFill>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fontAlgn="base">
              <a:spcBef>
                <a:spcPct val="0"/>
              </a:spcBef>
              <a:spcAft>
                <a:spcPct val="0"/>
              </a:spcAft>
            </a:pPr>
            <a:endParaRPr lang="en-US" sz="135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6"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2700"/>
              <a:t>Click to edit Slide Master Style</a:t>
            </a:r>
            <a:endParaRPr lang="en-US" sz="2700" u="sng"/>
          </a:p>
        </p:txBody>
      </p:sp>
    </p:spTree>
    <p:extLst>
      <p:ext uri="{BB962C8B-B14F-4D97-AF65-F5344CB8AC3E}">
        <p14:creationId xmlns:p14="http://schemas.microsoft.com/office/powerpoint/2010/main" val="14466205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FC25711-35B1-4133-B684-918735DCA3FD}"/>
              </a:ext>
            </a:extLst>
          </p:cNvPr>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1FC25711-35B1-4133-B684-918735DCA3FD}"/>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E0B27D3-E25C-4B1B-9972-D793A083F0E6}"/>
              </a:ext>
            </a:extLst>
          </p:cNvPr>
          <p:cNvSpPr/>
          <p:nvPr userDrawn="1">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1500" b="1">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609607" y="273146"/>
            <a:ext cx="4011084" cy="1162051"/>
          </a:xfrm>
        </p:spPr>
        <p:txBody>
          <a:bodyPr anchor="b"/>
          <a:lstStyle>
            <a:lvl1pPr algn="l">
              <a:defRPr sz="1500" b="1">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4766859" y="273060"/>
            <a:ext cx="6815668" cy="5853113"/>
          </a:xfrm>
        </p:spPr>
        <p:txBody>
          <a:bodyPr/>
          <a:lstStyle>
            <a:lvl1pPr>
              <a:defRPr sz="2400">
                <a:latin typeface="Arial" panose="020B0604020202020204" pitchFamily="34" charset="0"/>
                <a:cs typeface="Arial" panose="020B0604020202020204" pitchFamily="34" charset="0"/>
                <a:sym typeface="Arial" panose="020B0604020202020204" pitchFamily="34" charset="0"/>
              </a:defRPr>
            </a:lvl1pPr>
            <a:lvl2pPr>
              <a:defRPr sz="2100">
                <a:latin typeface="Arial" panose="020B0604020202020204" pitchFamily="34" charset="0"/>
                <a:cs typeface="Arial" panose="020B0604020202020204" pitchFamily="34" charset="0"/>
                <a:sym typeface="Arial" panose="020B0604020202020204" pitchFamily="34" charset="0"/>
              </a:defRPr>
            </a:lvl2pPr>
            <a:lvl3pPr>
              <a:defRPr sz="1800">
                <a:latin typeface="Arial" panose="020B0604020202020204" pitchFamily="34" charset="0"/>
                <a:cs typeface="Arial" panose="020B0604020202020204" pitchFamily="34" charset="0"/>
                <a:sym typeface="Arial" panose="020B0604020202020204" pitchFamily="34" charset="0"/>
              </a:defRPr>
            </a:lvl3pPr>
            <a:lvl4pPr>
              <a:defRPr sz="1500">
                <a:latin typeface="Arial" panose="020B0604020202020204" pitchFamily="34" charset="0"/>
                <a:cs typeface="Arial" panose="020B0604020202020204" pitchFamily="34" charset="0"/>
                <a:sym typeface="Arial" panose="020B0604020202020204" pitchFamily="34" charset="0"/>
              </a:defRPr>
            </a:lvl4pPr>
            <a:lvl5pPr>
              <a:defRPr sz="1500">
                <a:latin typeface="Arial" panose="020B0604020202020204" pitchFamily="34" charset="0"/>
                <a:cs typeface="Arial" panose="020B0604020202020204" pitchFamily="34" charset="0"/>
                <a:sym typeface="Arial" panose="020B0604020202020204" pitchFamily="34" charset="0"/>
              </a:defRPr>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7" y="1435110"/>
            <a:ext cx="4011084" cy="4691063"/>
          </a:xfrm>
        </p:spPr>
        <p:txBody>
          <a:bodyPr/>
          <a:lstStyle>
            <a:lvl1pPr marL="0" indent="0">
              <a:buNone/>
              <a:defRPr sz="1050">
                <a:latin typeface="Arial" panose="020B0604020202020204" pitchFamily="34" charset="0"/>
                <a:cs typeface="Arial" panose="020B0604020202020204" pitchFamily="34" charset="0"/>
                <a:sym typeface="Arial" panose="020B0604020202020204" pitchFamily="34" charset="0"/>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37306072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27574E-796D-4CCD-A810-09985F5FA7AB}"/>
              </a:ext>
            </a:extLst>
          </p:cNvPr>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9827574E-796D-4CCD-A810-09985F5FA7AB}"/>
                          </a:ext>
                        </a:extLst>
                      </p:cNvPr>
                      <p:cNvPicPr/>
                      <p:nvPr/>
                    </p:nvPicPr>
                    <p:blipFill>
                      <a:blip r:embed="rId4"/>
                      <a:stretch>
                        <a:fillRect/>
                      </a:stretch>
                    </p:blipFill>
                    <p:spPr>
                      <a:xfrm>
                        <a:off x="2120" y="1588"/>
                        <a:ext cx="2117" cy="1588"/>
                      </a:xfrm>
                      <a:prstGeom prst="rect">
                        <a:avLst/>
                      </a:prstGeom>
                    </p:spPr>
                  </p:pic>
                </p:oleObj>
              </mc:Fallback>
            </mc:AlternateContent>
          </a:graphicData>
        </a:graphic>
      </p:graphicFrame>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33919470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0D7B790-6685-4B67-AD11-6D6DB6C5C407}"/>
              </a:ext>
            </a:extLst>
          </p:cNvPr>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20D7B790-6685-4B67-AD11-6D6DB6C5C407}"/>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480ABA3-F04C-474F-A0DC-5A00D1DA38C8}"/>
              </a:ext>
            </a:extLst>
          </p:cNvPr>
          <p:cNvSpPr/>
          <p:nvPr userDrawn="1">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330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3251200" y="4953005"/>
            <a:ext cx="7315200" cy="365125"/>
          </a:xfrm>
          <a:prstGeom prst="rect">
            <a:avLst/>
          </a:prstGeom>
        </p:spPr>
        <p:txBody>
          <a:bodyPr lIns="91440" tIns="45720" rIns="91440" bIns="45720"/>
          <a:lstStyle>
            <a:lvl1pPr algn="ctr">
              <a:defRPr sz="788">
                <a:latin typeface="Arial" panose="020B0604020202020204" pitchFamily="34" charset="0"/>
                <a:cs typeface="Arial" panose="020B0604020202020204" pitchFamily="34" charset="0"/>
                <a:sym typeface="Arial" panose="020B0604020202020204" pitchFamily="34" charset="0"/>
              </a:defRPr>
            </a:lvl1pPr>
          </a:lstStyle>
          <a:p>
            <a:pPr defTabSz="342900" fontAlgn="base">
              <a:spcBef>
                <a:spcPct val="0"/>
              </a:spcBef>
              <a:spcAft>
                <a:spcPct val="0"/>
              </a:spcAft>
            </a:pPr>
            <a:endParaRPr lang="en-US">
              <a:solidFill>
                <a:srgbClr val="000000"/>
              </a:solidFill>
            </a:endParaRP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8837074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EBC2429-C0B1-4DCE-BF34-89AC6A17F69C}"/>
              </a:ext>
            </a:extLst>
          </p:cNvPr>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1EBC2429-C0B1-4DCE-BF34-89AC6A17F69C}"/>
                          </a:ext>
                        </a:extLst>
                      </p:cNvPr>
                      <p:cNvPicPr/>
                      <p:nvPr/>
                    </p:nvPicPr>
                    <p:blipFill>
                      <a:blip r:embed="rId4"/>
                      <a:stretch>
                        <a:fillRect/>
                      </a:stretch>
                    </p:blipFill>
                    <p:spPr>
                      <a:xfrm>
                        <a:off x="2120" y="1588"/>
                        <a:ext cx="2117"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60A417E-E8F0-429A-817B-227FA876778D}"/>
              </a:ext>
            </a:extLst>
          </p:cNvPr>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defTabSz="342900"/>
            <a:fld id="{D983F1FA-211D-3044-9E35-958DFBC26156}" type="slidenum">
              <a:rPr lang="en-US" smtClean="0">
                <a:solidFill>
                  <a:prstClr val="white"/>
                </a:solidFill>
              </a:rPr>
              <a:pPr defTabSz="342900"/>
              <a:t>‹#›</a:t>
            </a:fld>
            <a:endParaRPr lang="en-US">
              <a:solidFill>
                <a:prstClr val="white"/>
              </a:solidFill>
            </a:endParaRPr>
          </a:p>
        </p:txBody>
      </p:sp>
    </p:spTree>
    <p:extLst>
      <p:ext uri="{BB962C8B-B14F-4D97-AF65-F5344CB8AC3E}">
        <p14:creationId xmlns:p14="http://schemas.microsoft.com/office/powerpoint/2010/main" val="35366280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4DD5BDD-0EF3-4EAE-81F4-BCDCDBD76F9D}"/>
              </a:ext>
            </a:extLst>
          </p:cNvPr>
          <p:cNvGraphicFramePr>
            <a:graphicFrameLocks noChangeAspect="1"/>
          </p:cNvGraphicFramePr>
          <p:nvPr userDrawn="1">
            <p:custDataLst>
              <p:tags r:id="rId2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23" imgW="395" imgH="394" progId="TCLayout.ActiveDocument.1">
                  <p:embed/>
                </p:oleObj>
              </mc:Choice>
              <mc:Fallback>
                <p:oleObj name="think-cell Slide" r:id="rId23" imgW="395" imgH="394" progId="TCLayout.ActiveDocument.1">
                  <p:embed/>
                  <p:pic>
                    <p:nvPicPr>
                      <p:cNvPr id="4" name="Object 3" hidden="1">
                        <a:extLst>
                          <a:ext uri="{FF2B5EF4-FFF2-40B4-BE49-F238E27FC236}">
                            <a16:creationId xmlns:a16="http://schemas.microsoft.com/office/drawing/2014/main" id="{C4DD5BDD-0EF3-4EAE-81F4-BCDCDBD76F9D}"/>
                          </a:ext>
                        </a:extLst>
                      </p:cNvPr>
                      <p:cNvPicPr/>
                      <p:nvPr/>
                    </p:nvPicPr>
                    <p:blipFill>
                      <a:blip r:embed="rId24"/>
                      <a:stretch>
                        <a:fillRect/>
                      </a:stretch>
                    </p:blipFill>
                    <p:spPr>
                      <a:xfrm>
                        <a:off x="2119" y="1593"/>
                        <a:ext cx="2116"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DFEA488-B13E-4BE4-9DB4-BEFF8A810035}"/>
              </a:ext>
            </a:extLst>
          </p:cNvPr>
          <p:cNvSpPr/>
          <p:nvPr userDrawn="1">
            <p:custDataLst>
              <p:tags r:id="rId2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330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3" name="Text Placeholder 2"/>
          <p:cNvSpPr>
            <a:spLocks noGrp="1"/>
          </p:cNvSpPr>
          <p:nvPr>
            <p:ph type="body" idx="1"/>
          </p:nvPr>
        </p:nvSpPr>
        <p:spPr>
          <a:xfrm>
            <a:off x="230038" y="1066800"/>
            <a:ext cx="10972800" cy="496672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p:cNvSpPr/>
          <p:nvPr/>
        </p:nvSpPr>
        <p:spPr>
          <a:xfrm>
            <a:off x="0" y="6140685"/>
            <a:ext cx="12192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fontAlgn="base">
              <a:spcBef>
                <a:spcPct val="0"/>
              </a:spcBef>
              <a:spcAft>
                <a:spcPct val="0"/>
              </a:spcAft>
            </a:pPr>
            <a:endParaRPr lang="en-US" sz="135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6" name="Slide Number Placeholder 5"/>
          <p:cNvSpPr>
            <a:spLocks noGrp="1"/>
          </p:cNvSpPr>
          <p:nvPr>
            <p:ph type="sldNum" sz="quarter" idx="4"/>
          </p:nvPr>
        </p:nvSpPr>
        <p:spPr>
          <a:xfrm>
            <a:off x="9250441" y="6400237"/>
            <a:ext cx="2844800" cy="365125"/>
          </a:xfrm>
          <a:prstGeom prst="rect">
            <a:avLst/>
          </a:prstGeom>
        </p:spPr>
        <p:txBody>
          <a:bodyPr vert="horz" lIns="91440" tIns="45720" rIns="91440" bIns="45720" rtlCol="0" anchor="ctr"/>
          <a:lstStyle>
            <a:lvl1pPr algn="r">
              <a:defRPr sz="9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defTabSz="342900" fontAlgn="base">
              <a:spcBef>
                <a:spcPct val="0"/>
              </a:spcBef>
              <a:spcAft>
                <a:spcPct val="0"/>
              </a:spcAft>
            </a:pPr>
            <a:fld id="{D983F1FA-211D-3044-9E35-958DFBC26156}" type="slidenum">
              <a:rPr lang="en-US" smtClean="0">
                <a:solidFill>
                  <a:prstClr val="white"/>
                </a:solidFill>
              </a:rPr>
              <a:pPr defTabSz="342900" fontAlgn="base">
                <a:spcBef>
                  <a:spcPct val="0"/>
                </a:spcBef>
                <a:spcAft>
                  <a:spcPct val="0"/>
                </a:spcAft>
              </a:pPr>
              <a:t>‹#›</a:t>
            </a:fld>
            <a:endParaRPr lang="en-US">
              <a:solidFill>
                <a:prstClr val="white"/>
              </a:solidFill>
            </a:endParaRPr>
          </a:p>
        </p:txBody>
      </p:sp>
      <p:pic>
        <p:nvPicPr>
          <p:cNvPr id="2050" name="Picture 2" descr="C:\Users\vacoGrovem\AppData\Local\Microsoft\Windows\Temporary Internet Files\Content.Outlook\83QVOJUE\CHOOSE-VA-rev.png"/>
          <p:cNvPicPr>
            <a:picLocks noChangeAspect="1" noChangeArrowheads="1"/>
          </p:cNvPicPr>
          <p:nvPr userDrawn="1"/>
        </p:nvPicPr>
        <p:blipFill>
          <a:blip r:embed="rId25" cstate="print">
            <a:extLst>
              <a:ext uri="{28A0092B-C50C-407E-A947-70E740481C1C}">
                <a14:useLocalDpi xmlns:a14="http://schemas.microsoft.com/office/drawing/2010/main" val="0"/>
              </a:ext>
            </a:extLst>
          </a:blip>
          <a:srcRect/>
          <a:stretch>
            <a:fillRect/>
          </a:stretch>
        </p:blipFill>
        <p:spPr bwMode="auto">
          <a:xfrm>
            <a:off x="112785" y="6163811"/>
            <a:ext cx="2112830" cy="54864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7B1FB390-1747-40D3-92C6-1C90C2EB3779}"/>
              </a:ext>
            </a:extLst>
          </p:cNvPr>
          <p:cNvSpPr/>
          <p:nvPr userDrawn="1"/>
        </p:nvSpPr>
        <p:spPr>
          <a:xfrm>
            <a:off x="0" y="10626"/>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fontAlgn="base">
              <a:spcBef>
                <a:spcPct val="0"/>
              </a:spcBef>
              <a:spcAft>
                <a:spcPct val="0"/>
              </a:spcAft>
            </a:pPr>
            <a:endParaRPr lang="en-US" sz="18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86264" y="-1"/>
            <a:ext cx="12278264" cy="731521"/>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3348051821"/>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5" r:id="rId11"/>
    <p:sldLayoutId id="2147483686" r:id="rId12"/>
    <p:sldLayoutId id="2147483710" r:id="rId13"/>
    <p:sldLayoutId id="2147483688" r:id="rId14"/>
    <p:sldLayoutId id="2147483711" r:id="rId15"/>
    <p:sldLayoutId id="2147483713" r:id="rId16"/>
    <p:sldLayoutId id="2147483712" r:id="rId17"/>
    <p:sldLayoutId id="2147483692" r:id="rId18"/>
    <p:sldLayoutId id="2147483693" r:id="rId19"/>
  </p:sldLayoutIdLst>
  <p:hf hdr="0" ftr="0" dt="0"/>
  <p:txStyles>
    <p:titleStyle>
      <a:lvl1pPr algn="ctr" defTabSz="342900" rtl="0" eaLnBrk="1" latinLnBrk="0" hangingPunct="1">
        <a:spcBef>
          <a:spcPct val="0"/>
        </a:spcBef>
        <a:buNone/>
        <a:defRPr sz="3600" b="1" kern="120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257175" indent="-257175" algn="l" defTabSz="342900" rtl="0" eaLnBrk="1" latinLnBrk="0" hangingPunct="1">
        <a:spcBef>
          <a:spcPct val="20000"/>
        </a:spcBef>
        <a:buFont typeface="Arial"/>
        <a:buChar char="•"/>
        <a:defRPr sz="24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557213" indent="-214313" algn="l" defTabSz="342900" rtl="0" eaLnBrk="1" latinLnBrk="0" hangingPunct="1">
        <a:spcBef>
          <a:spcPct val="20000"/>
        </a:spcBef>
        <a:buFont typeface="Arial"/>
        <a:buChar char="–"/>
        <a:defRPr sz="21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857250" indent="-171450" algn="l" defTabSz="342900" rtl="0" eaLnBrk="1" latinLnBrk="0" hangingPunct="1">
        <a:spcBef>
          <a:spcPct val="20000"/>
        </a:spcBef>
        <a:buFont typeface="Arial"/>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1200150" indent="-171450" algn="l" defTabSz="342900" rtl="0" eaLnBrk="1" latinLnBrk="0" hangingPunct="1">
        <a:spcBef>
          <a:spcPct val="20000"/>
        </a:spcBef>
        <a:buFont typeface="Arial"/>
        <a:buChar char="–"/>
        <a:defRPr sz="15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1543050" indent="-171450" algn="l" defTabSz="342900" rtl="0" eaLnBrk="1" latinLnBrk="0" hangingPunct="1">
        <a:spcBef>
          <a:spcPct val="20000"/>
        </a:spcBef>
        <a:buFont typeface="Arial"/>
        <a:buChar char="»"/>
        <a:defRPr sz="15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hyperlink" Target="https://www.patientcare.va.gov/LGBT/VA_LGBT_Policies.asp#:~:text=VHA%20Directive%201340%3A%20Health%20Care%20for%20Veterans%20who,Providing%20Health%20Care%20for%20Transgender%20and%20Intersex%20Veterans." TargetMode="External"/><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10.jpeg"/></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3" Type="http://schemas.openxmlformats.org/officeDocument/2006/relationships/hyperlink" Target="https://www.va.gov/discharge-upgrade-instructions/" TargetMode="External"/><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hyperlink" Target="https://www.va.gov/HEALTHEQUITY/dataviz/minorityVeterans.html" TargetMode="External"/><Relationship Id="rId2" Type="http://schemas.openxmlformats.org/officeDocument/2006/relationships/notesSlide" Target="../notesSlides/notesSlide14.xml"/><Relationship Id="rId1" Type="http://schemas.openxmlformats.org/officeDocument/2006/relationships/slideLayout" Target="../slideLayouts/slideLayout5.xml"/><Relationship Id="rId4" Type="http://schemas.openxmlformats.org/officeDocument/2006/relationships/image" Target="../media/image11.png"/></Relationships>
</file>

<file path=ppt/slides/_rels/slide15.xml.rels><?xml version="1.0" encoding="UTF-8" standalone="yes"?>
<Relationships xmlns="http://schemas.openxmlformats.org/package/2006/relationships"><Relationship Id="rId8" Type="http://schemas.openxmlformats.org/officeDocument/2006/relationships/hyperlink" Target="https://www.youtube.com/watch?v=lkPJxQorieo" TargetMode="External"/><Relationship Id="rId3" Type="http://schemas.openxmlformats.org/officeDocument/2006/relationships/hyperlink" Target="https://www.va.gov/centerforminorityveterans/" TargetMode="External"/><Relationship Id="rId7" Type="http://schemas.openxmlformats.org/officeDocument/2006/relationships/hyperlink" Target="https://www.apa.org/about/apa/equity-diversity-inclusion/language-guidelines.pdf" TargetMode="External"/><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hyperlink" Target="https://www.va.gov/discharge-upgrade-instructions/" TargetMode="External"/><Relationship Id="rId5" Type="http://schemas.openxmlformats.org/officeDocument/2006/relationships/hyperlink" Target="https://www.patientcare.va.gov/LGBT/Resources.asp" TargetMode="External"/><Relationship Id="rId4" Type="http://schemas.openxmlformats.org/officeDocument/2006/relationships/hyperlink" Target="https://www.patientcare.va.gov/LGBT/index.asp" TargetMode="External"/><Relationship Id="rId9" Type="http://schemas.openxmlformats.org/officeDocument/2006/relationships/hyperlink" Target="https://www.patientcare.va.gov/LGBT/LGBT_Veteran_Care_Coordinator.asp"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4.png"/><Relationship Id="rId7" Type="http://schemas.openxmlformats.org/officeDocument/2006/relationships/image" Target="../media/image16.svg"/><Relationship Id="rId12" Type="http://schemas.openxmlformats.org/officeDocument/2006/relationships/image" Target="../media/image21.png"/><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image" Target="../media/image15.png"/><Relationship Id="rId11" Type="http://schemas.openxmlformats.org/officeDocument/2006/relationships/image" Target="../media/image20.svg"/><Relationship Id="rId5" Type="http://schemas.openxmlformats.org/officeDocument/2006/relationships/hyperlink" Target="https://www.va.gov/centerforminorityveterans/" TargetMode="External"/><Relationship Id="rId10" Type="http://schemas.openxmlformats.org/officeDocument/2006/relationships/image" Target="../media/image19.png"/><Relationship Id="rId4" Type="http://schemas.openxmlformats.org/officeDocument/2006/relationships/hyperlink" Target="mailto:vacocmv@va.gov" TargetMode="External"/><Relationship Id="rId9" Type="http://schemas.openxmlformats.org/officeDocument/2006/relationships/image" Target="../media/image18.svg"/></Relationships>
</file>

<file path=ppt/slides/_rels/slide2.xml.rels><?xml version="1.0" encoding="UTF-8" standalone="yes"?>
<Relationships xmlns="http://schemas.openxmlformats.org/package/2006/relationships"><Relationship Id="rId3" Type="http://schemas.openxmlformats.org/officeDocument/2006/relationships/hyperlink" Target="https://www.va.gov/centerforminorityveterans/" TargetMode="External"/><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9.jpeg"/></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9.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6368AA7-883E-4C4D-9676-69CB043DC6A4}"/>
              </a:ext>
            </a:extLst>
          </p:cNvPr>
          <p:cNvSpPr>
            <a:spLocks noGrp="1"/>
          </p:cNvSpPr>
          <p:nvPr>
            <p:ph type="title"/>
          </p:nvPr>
        </p:nvSpPr>
        <p:spPr/>
        <p:txBody>
          <a:bodyPr>
            <a:normAutofit/>
          </a:bodyPr>
          <a:lstStyle/>
          <a:p>
            <a:r>
              <a:rPr lang="en-US" sz="3200"/>
              <a:t> </a:t>
            </a:r>
          </a:p>
        </p:txBody>
      </p:sp>
      <p:pic>
        <p:nvPicPr>
          <p:cNvPr id="7" name="Picture 6">
            <a:extLst>
              <a:ext uri="{FF2B5EF4-FFF2-40B4-BE49-F238E27FC236}">
                <a16:creationId xmlns:a16="http://schemas.microsoft.com/office/drawing/2014/main" id="{A368B941-5C06-4252-A20C-7E01D6B947B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20233" y="1716457"/>
            <a:ext cx="3351534" cy="3425086"/>
          </a:xfrm>
          <a:prstGeom prst="rect">
            <a:avLst/>
          </a:prstGeom>
        </p:spPr>
      </p:pic>
      <p:sp>
        <p:nvSpPr>
          <p:cNvPr id="8" name="Title 6">
            <a:extLst>
              <a:ext uri="{FF2B5EF4-FFF2-40B4-BE49-F238E27FC236}">
                <a16:creationId xmlns:a16="http://schemas.microsoft.com/office/drawing/2014/main" id="{740FA4C0-2EFE-41DC-B950-2E316C1205D1}"/>
              </a:ext>
            </a:extLst>
          </p:cNvPr>
          <p:cNvSpPr txBox="1">
            <a:spLocks/>
          </p:cNvSpPr>
          <p:nvPr/>
        </p:nvSpPr>
        <p:spPr>
          <a:xfrm>
            <a:off x="152400" y="-14990"/>
            <a:ext cx="12192000" cy="731520"/>
          </a:xfrm>
          <a:prstGeom prst="rect">
            <a:avLst/>
          </a:prstGeom>
        </p:spPr>
        <p:txBody>
          <a:bodyPr vert="horz" lIns="91440" tIns="45720" rIns="91440" bIns="45720" rtlCol="0" anchor="ctr">
            <a:normAutofit/>
          </a:bodyPr>
          <a:lstStyle>
            <a:lvl1pPr algn="ctr" defTabSz="342900" rtl="0" eaLnBrk="1" latinLnBrk="0" hangingPunct="1">
              <a:spcBef>
                <a:spcPct val="0"/>
              </a:spcBef>
              <a:buNone/>
              <a:defRPr sz="3600" b="1" kern="1200" baseline="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sz="3200"/>
              <a:t>Center for Minority Veterans</a:t>
            </a:r>
          </a:p>
        </p:txBody>
      </p:sp>
    </p:spTree>
    <p:extLst>
      <p:ext uri="{BB962C8B-B14F-4D97-AF65-F5344CB8AC3E}">
        <p14:creationId xmlns:p14="http://schemas.microsoft.com/office/powerpoint/2010/main" val="23433118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72189E6-5969-94AF-C34B-0AA58644AE1A}"/>
              </a:ext>
            </a:extLst>
          </p:cNvPr>
          <p:cNvSpPr>
            <a:spLocks noGrp="1"/>
          </p:cNvSpPr>
          <p:nvPr>
            <p:ph type="sldNum" sz="quarter" idx="12"/>
          </p:nvPr>
        </p:nvSpPr>
        <p:spPr/>
        <p:txBody>
          <a:bodyPr/>
          <a:lstStyle/>
          <a:p>
            <a:fld id="{D983F1FA-211D-3044-9E35-958DFBC26156}" type="slidenum">
              <a:rPr lang="en-US" smtClean="0">
                <a:solidFill>
                  <a:prstClr val="white"/>
                </a:solidFill>
              </a:rPr>
              <a:pPr/>
              <a:t>10</a:t>
            </a:fld>
            <a:endParaRPr lang="en-US">
              <a:solidFill>
                <a:prstClr val="white"/>
              </a:solidFill>
            </a:endParaRPr>
          </a:p>
        </p:txBody>
      </p:sp>
      <p:sp>
        <p:nvSpPr>
          <p:cNvPr id="4" name="Title 3">
            <a:extLst>
              <a:ext uri="{FF2B5EF4-FFF2-40B4-BE49-F238E27FC236}">
                <a16:creationId xmlns:a16="http://schemas.microsoft.com/office/drawing/2014/main" id="{048FCFEB-2455-688E-8975-0C4167514666}"/>
              </a:ext>
            </a:extLst>
          </p:cNvPr>
          <p:cNvSpPr>
            <a:spLocks noGrp="1"/>
          </p:cNvSpPr>
          <p:nvPr>
            <p:ph type="title"/>
          </p:nvPr>
        </p:nvSpPr>
        <p:spPr/>
        <p:txBody>
          <a:bodyPr/>
          <a:lstStyle/>
          <a:p>
            <a:r>
              <a:rPr lang="en-US">
                <a:latin typeface="Arial"/>
                <a:cs typeface="Arial"/>
              </a:rPr>
              <a:t>Exercise: Exploring Your Personal Identity</a:t>
            </a:r>
            <a:endParaRPr lang="en-US"/>
          </a:p>
        </p:txBody>
      </p:sp>
      <p:sp>
        <p:nvSpPr>
          <p:cNvPr id="2" name="Content Placeholder 1">
            <a:extLst>
              <a:ext uri="{FF2B5EF4-FFF2-40B4-BE49-F238E27FC236}">
                <a16:creationId xmlns:a16="http://schemas.microsoft.com/office/drawing/2014/main" id="{BAEEF4AA-1885-F6CD-1D71-1E82E7C5DA97}"/>
              </a:ext>
            </a:extLst>
          </p:cNvPr>
          <p:cNvSpPr>
            <a:spLocks noGrp="1"/>
          </p:cNvSpPr>
          <p:nvPr>
            <p:ph sz="quarter" idx="4294967295"/>
          </p:nvPr>
        </p:nvSpPr>
        <p:spPr>
          <a:xfrm>
            <a:off x="558209" y="1256673"/>
            <a:ext cx="5535613" cy="4352925"/>
          </a:xfrm>
        </p:spPr>
        <p:txBody>
          <a:bodyPr vert="horz" lIns="91440" tIns="45720" rIns="91440" bIns="45720" rtlCol="0" anchor="t">
            <a:noAutofit/>
          </a:bodyPr>
          <a:lstStyle/>
          <a:p>
            <a:pPr marL="0" indent="0">
              <a:spcBef>
                <a:spcPts val="0"/>
              </a:spcBef>
              <a:spcAft>
                <a:spcPts val="500"/>
              </a:spcAft>
              <a:buNone/>
            </a:pPr>
            <a:r>
              <a:rPr lang="en-US" sz="1200" b="1">
                <a:latin typeface="Arial"/>
                <a:cs typeface="Calibri"/>
              </a:rPr>
              <a:t>Instructions</a:t>
            </a:r>
            <a:endParaRPr lang="en-US"/>
          </a:p>
          <a:p>
            <a:pPr marL="171450" indent="0">
              <a:spcBef>
                <a:spcPts val="0"/>
              </a:spcBef>
              <a:spcAft>
                <a:spcPts val="500"/>
              </a:spcAft>
              <a:buFont typeface="Arial,Sans-Serif"/>
            </a:pPr>
            <a:r>
              <a:rPr lang="en-US" sz="1200">
                <a:latin typeface="Arial"/>
                <a:cs typeface="Calibri"/>
              </a:rPr>
              <a:t> Examine how each cultural characteristic corresponds to your own identity. Take note of aspects of your identity that correspond with more power or less power.</a:t>
            </a:r>
            <a:endParaRPr lang="en-US" sz="1200">
              <a:solidFill>
                <a:srgbClr val="444444"/>
              </a:solidFill>
              <a:latin typeface="Arial"/>
              <a:cs typeface="Calibri"/>
            </a:endParaRPr>
          </a:p>
          <a:p>
            <a:pPr marL="171450" indent="0">
              <a:spcBef>
                <a:spcPts val="0"/>
              </a:spcBef>
              <a:spcAft>
                <a:spcPts val="500"/>
              </a:spcAft>
              <a:buFont typeface="Arial,Sans-Serif"/>
            </a:pPr>
            <a:r>
              <a:rPr lang="en-US" sz="1200">
                <a:latin typeface="Arial"/>
                <a:cs typeface="Calibri"/>
              </a:rPr>
              <a:t> Complete the following reflection statements:</a:t>
            </a:r>
            <a:endParaRPr lang="en-US" sz="1200">
              <a:solidFill>
                <a:srgbClr val="444444"/>
              </a:solidFill>
              <a:latin typeface="Arial"/>
              <a:cs typeface="Calibri"/>
            </a:endParaRPr>
          </a:p>
          <a:p>
            <a:pPr marL="628650" lvl="1" indent="-171450">
              <a:spcBef>
                <a:spcPts val="0"/>
              </a:spcBef>
              <a:spcAft>
                <a:spcPts val="200"/>
              </a:spcAft>
              <a:buFont typeface="Arial,Sans-Serif"/>
            </a:pPr>
            <a:r>
              <a:rPr lang="en-US" sz="1200">
                <a:latin typeface="Arial"/>
                <a:cs typeface="Calibri"/>
              </a:rPr>
              <a:t>The part of my identity that I am most/least aware of is: </a:t>
            </a:r>
            <a:endParaRPr lang="en-US" sz="1200">
              <a:solidFill>
                <a:srgbClr val="444444"/>
              </a:solidFill>
              <a:latin typeface="Arial"/>
              <a:cs typeface="Calibri"/>
            </a:endParaRPr>
          </a:p>
          <a:p>
            <a:pPr marL="628650" lvl="1" indent="-171450">
              <a:spcBef>
                <a:spcPts val="0"/>
              </a:spcBef>
              <a:spcAft>
                <a:spcPts val="200"/>
              </a:spcAft>
              <a:buFont typeface="Arial,Sans-Serif"/>
            </a:pPr>
            <a:r>
              <a:rPr lang="en-US" sz="1200">
                <a:latin typeface="Arial"/>
                <a:cs typeface="Calibri"/>
              </a:rPr>
              <a:t>The part of my identity that was most important to my birth family was: </a:t>
            </a:r>
            <a:endParaRPr lang="en-US" sz="1200">
              <a:solidFill>
                <a:srgbClr val="444444"/>
              </a:solidFill>
              <a:latin typeface="Arial"/>
              <a:cs typeface="Calibri"/>
            </a:endParaRPr>
          </a:p>
          <a:p>
            <a:pPr marL="628650" lvl="1" indent="-171450">
              <a:spcBef>
                <a:spcPts val="0"/>
              </a:spcBef>
              <a:spcAft>
                <a:spcPts val="200"/>
              </a:spcAft>
              <a:buFont typeface="Arial,Sans-Serif"/>
            </a:pPr>
            <a:r>
              <a:rPr lang="en-US" sz="1200">
                <a:latin typeface="Arial"/>
                <a:cs typeface="Calibri"/>
              </a:rPr>
              <a:t>The part of my identity that I would like to know more about is: </a:t>
            </a:r>
            <a:endParaRPr lang="en-US" sz="1200">
              <a:solidFill>
                <a:srgbClr val="444444"/>
              </a:solidFill>
              <a:latin typeface="Arial"/>
              <a:cs typeface="Calibri"/>
            </a:endParaRPr>
          </a:p>
          <a:p>
            <a:pPr marL="628650" lvl="1" indent="-171450">
              <a:spcBef>
                <a:spcPts val="0"/>
              </a:spcBef>
              <a:spcAft>
                <a:spcPts val="200"/>
              </a:spcAft>
              <a:buFont typeface="Arial,Sans-Serif"/>
            </a:pPr>
            <a:r>
              <a:rPr lang="en-US" sz="1200">
                <a:latin typeface="Arial"/>
                <a:cs typeface="Calibri"/>
              </a:rPr>
              <a:t>The part of my identity that I believe is the most misunderstood is: </a:t>
            </a:r>
            <a:endParaRPr lang="en-US" sz="1200">
              <a:solidFill>
                <a:srgbClr val="444444"/>
              </a:solidFill>
              <a:latin typeface="Arial"/>
              <a:cs typeface="Calibri"/>
            </a:endParaRPr>
          </a:p>
          <a:p>
            <a:pPr marL="628650" lvl="1" indent="-171450">
              <a:spcBef>
                <a:spcPts val="0"/>
              </a:spcBef>
              <a:spcAft>
                <a:spcPts val="200"/>
              </a:spcAft>
              <a:buFont typeface="Arial,Sans-Serif"/>
            </a:pPr>
            <a:r>
              <a:rPr lang="en-US" sz="1200">
                <a:latin typeface="Arial"/>
                <a:cs typeface="Calibri"/>
              </a:rPr>
              <a:t>The part of my identity that garners me the most privilege is: </a:t>
            </a:r>
            <a:endParaRPr lang="en-US" sz="1200">
              <a:solidFill>
                <a:srgbClr val="444444"/>
              </a:solidFill>
              <a:latin typeface="Arial"/>
              <a:cs typeface="Calibri"/>
            </a:endParaRPr>
          </a:p>
          <a:p>
            <a:pPr marL="628650" lvl="1" indent="-171450">
              <a:spcBef>
                <a:spcPts val="0"/>
              </a:spcBef>
              <a:spcAft>
                <a:spcPts val="200"/>
              </a:spcAft>
              <a:buFont typeface="Arial,Sans-Serif"/>
            </a:pPr>
            <a:r>
              <a:rPr lang="en-US" sz="1200">
                <a:latin typeface="Arial"/>
                <a:cs typeface="Calibri"/>
              </a:rPr>
              <a:t>The part of my identity that is difficult to discuss with others who identify differently is: </a:t>
            </a:r>
            <a:endParaRPr lang="en-US" sz="1200">
              <a:solidFill>
                <a:srgbClr val="444444"/>
              </a:solidFill>
              <a:latin typeface="Arial"/>
              <a:cs typeface="Calibri"/>
            </a:endParaRPr>
          </a:p>
          <a:p>
            <a:pPr marL="628650" lvl="1" indent="-171450">
              <a:spcBef>
                <a:spcPts val="0"/>
              </a:spcBef>
              <a:spcAft>
                <a:spcPts val="200"/>
              </a:spcAft>
              <a:buFont typeface="Arial,Sans-Serif"/>
            </a:pPr>
            <a:r>
              <a:rPr lang="en-US" sz="1200">
                <a:latin typeface="Arial"/>
                <a:cs typeface="Calibri"/>
              </a:rPr>
              <a:t>The part of my identity that makes me feel discriminated against is: </a:t>
            </a:r>
            <a:endParaRPr lang="en-US" sz="1200">
              <a:solidFill>
                <a:srgbClr val="444444"/>
              </a:solidFill>
              <a:latin typeface="Arial"/>
              <a:cs typeface="Calibri"/>
            </a:endParaRPr>
          </a:p>
          <a:p>
            <a:pPr marL="628650" lvl="1" indent="-171450">
              <a:spcBef>
                <a:spcPts val="0"/>
              </a:spcBef>
              <a:spcAft>
                <a:spcPts val="200"/>
              </a:spcAft>
              <a:buFont typeface="Arial,Sans-Serif"/>
            </a:pPr>
            <a:r>
              <a:rPr lang="en-US" sz="1200">
                <a:latin typeface="Arial"/>
                <a:cs typeface="Calibri"/>
              </a:rPr>
              <a:t>The part of my identity that I value most is: </a:t>
            </a:r>
            <a:endParaRPr lang="en-US" sz="1200">
              <a:solidFill>
                <a:srgbClr val="444444"/>
              </a:solidFill>
              <a:latin typeface="Arial"/>
              <a:cs typeface="Calibri"/>
            </a:endParaRPr>
          </a:p>
          <a:p>
            <a:pPr marL="628650" lvl="1" indent="-171450">
              <a:spcBef>
                <a:spcPts val="0"/>
              </a:spcBef>
              <a:spcAft>
                <a:spcPts val="200"/>
              </a:spcAft>
              <a:buFont typeface="Arial,Sans-Serif"/>
            </a:pPr>
            <a:r>
              <a:rPr lang="en-US" sz="1200">
                <a:latin typeface="Arial"/>
                <a:cs typeface="Calibri"/>
              </a:rPr>
              <a:t>If someone would like to really understand me, they should understand that: </a:t>
            </a:r>
            <a:endParaRPr lang="en-US" sz="1200">
              <a:latin typeface="Arial"/>
            </a:endParaRPr>
          </a:p>
        </p:txBody>
      </p:sp>
      <p:graphicFrame>
        <p:nvGraphicFramePr>
          <p:cNvPr id="7" name="Content Placeholder 6">
            <a:extLst>
              <a:ext uri="{FF2B5EF4-FFF2-40B4-BE49-F238E27FC236}">
                <a16:creationId xmlns:a16="http://schemas.microsoft.com/office/drawing/2014/main" id="{AFFAECFD-9C7F-93C9-83C0-DB4DE2A6D9A6}"/>
              </a:ext>
            </a:extLst>
          </p:cNvPr>
          <p:cNvGraphicFramePr>
            <a:graphicFrameLocks noGrp="1"/>
          </p:cNvGraphicFramePr>
          <p:nvPr>
            <p:ph sz="quarter" idx="4294967295"/>
            <p:extLst>
              <p:ext uri="{D42A27DB-BD31-4B8C-83A1-F6EECF244321}">
                <p14:modId xmlns:p14="http://schemas.microsoft.com/office/powerpoint/2010/main" val="1344440047"/>
              </p:ext>
            </p:extLst>
          </p:nvPr>
        </p:nvGraphicFramePr>
        <p:xfrm>
          <a:off x="6818276" y="1256673"/>
          <a:ext cx="4718049" cy="4480559"/>
        </p:xfrm>
        <a:graphic>
          <a:graphicData uri="http://schemas.openxmlformats.org/drawingml/2006/table">
            <a:tbl>
              <a:tblPr firstRow="1" bandRow="1">
                <a:tableStyleId>{85BE263C-DBD7-4A20-BB59-AAB30ACAA65A}</a:tableStyleId>
              </a:tblPr>
              <a:tblGrid>
                <a:gridCol w="1572683">
                  <a:extLst>
                    <a:ext uri="{9D8B030D-6E8A-4147-A177-3AD203B41FA5}">
                      <a16:colId xmlns:a16="http://schemas.microsoft.com/office/drawing/2014/main" val="4284638899"/>
                    </a:ext>
                  </a:extLst>
                </a:gridCol>
                <a:gridCol w="1572683">
                  <a:extLst>
                    <a:ext uri="{9D8B030D-6E8A-4147-A177-3AD203B41FA5}">
                      <a16:colId xmlns:a16="http://schemas.microsoft.com/office/drawing/2014/main" val="945653400"/>
                    </a:ext>
                  </a:extLst>
                </a:gridCol>
                <a:gridCol w="1572683">
                  <a:extLst>
                    <a:ext uri="{9D8B030D-6E8A-4147-A177-3AD203B41FA5}">
                      <a16:colId xmlns:a16="http://schemas.microsoft.com/office/drawing/2014/main" val="1667785360"/>
                    </a:ext>
                  </a:extLst>
                </a:gridCol>
              </a:tblGrid>
              <a:tr h="370840">
                <a:tc>
                  <a:txBody>
                    <a:bodyPr/>
                    <a:lstStyle/>
                    <a:p>
                      <a:pPr lvl="0">
                        <a:buNone/>
                      </a:pPr>
                      <a:r>
                        <a:rPr lang="en-US" sz="900"/>
                        <a:t>Cultural Characteristic</a:t>
                      </a:r>
                    </a:p>
                  </a:txBody>
                  <a:tcPr/>
                </a:tc>
                <a:tc>
                  <a:txBody>
                    <a:bodyPr/>
                    <a:lstStyle/>
                    <a:p>
                      <a:pPr lvl="0">
                        <a:buNone/>
                      </a:pPr>
                      <a:r>
                        <a:rPr lang="en-US" sz="900"/>
                        <a:t>Power</a:t>
                      </a:r>
                    </a:p>
                  </a:txBody>
                  <a:tcPr/>
                </a:tc>
                <a:tc>
                  <a:txBody>
                    <a:bodyPr/>
                    <a:lstStyle/>
                    <a:p>
                      <a:pPr lvl="0">
                        <a:buNone/>
                      </a:pPr>
                      <a:r>
                        <a:rPr lang="en-US" sz="900"/>
                        <a:t>Less Power</a:t>
                      </a:r>
                    </a:p>
                  </a:txBody>
                  <a:tcPr/>
                </a:tc>
                <a:extLst>
                  <a:ext uri="{0D108BD9-81ED-4DB2-BD59-A6C34878D82A}">
                    <a16:rowId xmlns:a16="http://schemas.microsoft.com/office/drawing/2014/main" val="161514106"/>
                  </a:ext>
                </a:extLst>
              </a:tr>
              <a:tr h="370840">
                <a:tc>
                  <a:txBody>
                    <a:bodyPr/>
                    <a:lstStyle/>
                    <a:p>
                      <a:pPr lvl="0">
                        <a:buNone/>
                      </a:pPr>
                      <a:r>
                        <a:rPr lang="en-US" sz="900" b="1"/>
                        <a:t>Age and Generational Influences</a:t>
                      </a:r>
                    </a:p>
                  </a:txBody>
                  <a:tcPr/>
                </a:tc>
                <a:tc>
                  <a:txBody>
                    <a:bodyPr/>
                    <a:lstStyle/>
                    <a:p>
                      <a:pPr lvl="0">
                        <a:buNone/>
                      </a:pPr>
                      <a:r>
                        <a:rPr lang="en-US" sz="900"/>
                        <a:t>Adults</a:t>
                      </a:r>
                    </a:p>
                  </a:txBody>
                  <a:tcPr/>
                </a:tc>
                <a:tc>
                  <a:txBody>
                    <a:bodyPr/>
                    <a:lstStyle/>
                    <a:p>
                      <a:pPr lvl="0">
                        <a:buNone/>
                      </a:pPr>
                      <a:r>
                        <a:rPr lang="en-US" sz="900"/>
                        <a:t>Children, adolescents, elders</a:t>
                      </a:r>
                    </a:p>
                  </a:txBody>
                  <a:tcPr/>
                </a:tc>
                <a:extLst>
                  <a:ext uri="{0D108BD9-81ED-4DB2-BD59-A6C34878D82A}">
                    <a16:rowId xmlns:a16="http://schemas.microsoft.com/office/drawing/2014/main" val="938308943"/>
                  </a:ext>
                </a:extLst>
              </a:tr>
              <a:tr h="370840">
                <a:tc>
                  <a:txBody>
                    <a:bodyPr/>
                    <a:lstStyle/>
                    <a:p>
                      <a:pPr lvl="0">
                        <a:buNone/>
                      </a:pPr>
                      <a:r>
                        <a:rPr lang="en-US" sz="900" b="1"/>
                        <a:t>Developmental Disability</a:t>
                      </a:r>
                    </a:p>
                  </a:txBody>
                  <a:tcPr/>
                </a:tc>
                <a:tc>
                  <a:txBody>
                    <a:bodyPr/>
                    <a:lstStyle/>
                    <a:p>
                      <a:pPr lvl="0">
                        <a:buNone/>
                      </a:pPr>
                      <a:r>
                        <a:rPr lang="en-US" sz="900"/>
                        <a:t>Temporarily able-bodied</a:t>
                      </a:r>
                    </a:p>
                  </a:txBody>
                  <a:tcPr/>
                </a:tc>
                <a:tc>
                  <a:txBody>
                    <a:bodyPr/>
                    <a:lstStyle/>
                    <a:p>
                      <a:pPr lvl="0">
                        <a:buNone/>
                      </a:pPr>
                      <a:r>
                        <a:rPr lang="en-US" sz="900"/>
                        <a:t>Individuals with disabilities</a:t>
                      </a:r>
                    </a:p>
                  </a:txBody>
                  <a:tcPr/>
                </a:tc>
                <a:extLst>
                  <a:ext uri="{0D108BD9-81ED-4DB2-BD59-A6C34878D82A}">
                    <a16:rowId xmlns:a16="http://schemas.microsoft.com/office/drawing/2014/main" val="1411688888"/>
                  </a:ext>
                </a:extLst>
              </a:tr>
              <a:tr h="370840">
                <a:tc>
                  <a:txBody>
                    <a:bodyPr/>
                    <a:lstStyle/>
                    <a:p>
                      <a:pPr lvl="0">
                        <a:buNone/>
                      </a:pPr>
                      <a:r>
                        <a:rPr lang="en-US" sz="900" b="1"/>
                        <a:t>Disability Acquired Later in Life</a:t>
                      </a:r>
                    </a:p>
                  </a:txBody>
                  <a:tcPr/>
                </a:tc>
                <a:tc>
                  <a:txBody>
                    <a:bodyPr/>
                    <a:lstStyle/>
                    <a:p>
                      <a:pPr lvl="0">
                        <a:buNone/>
                      </a:pPr>
                      <a:r>
                        <a:rPr lang="en-US" sz="900"/>
                        <a:t>Temporarily able-bodied</a:t>
                      </a:r>
                    </a:p>
                  </a:txBody>
                  <a:tcPr/>
                </a:tc>
                <a:tc>
                  <a:txBody>
                    <a:bodyPr/>
                    <a:lstStyle/>
                    <a:p>
                      <a:pPr lvl="0">
                        <a:buNone/>
                      </a:pPr>
                      <a:r>
                        <a:rPr lang="en-US" sz="900"/>
                        <a:t>Individuals with disabilities (e.g., multiple sclerosis or dementia caused by stroke)</a:t>
                      </a:r>
                    </a:p>
                  </a:txBody>
                  <a:tcPr/>
                </a:tc>
                <a:extLst>
                  <a:ext uri="{0D108BD9-81ED-4DB2-BD59-A6C34878D82A}">
                    <a16:rowId xmlns:a16="http://schemas.microsoft.com/office/drawing/2014/main" val="2728325968"/>
                  </a:ext>
                </a:extLst>
              </a:tr>
              <a:tr h="370840">
                <a:tc>
                  <a:txBody>
                    <a:bodyPr/>
                    <a:lstStyle/>
                    <a:p>
                      <a:pPr lvl="0">
                        <a:buNone/>
                      </a:pPr>
                      <a:r>
                        <a:rPr lang="en-US" sz="900" b="1"/>
                        <a:t>Religion and Spiritual Orientation</a:t>
                      </a:r>
                    </a:p>
                  </a:txBody>
                  <a:tcPr/>
                </a:tc>
                <a:tc>
                  <a:txBody>
                    <a:bodyPr/>
                    <a:lstStyle/>
                    <a:p>
                      <a:pPr lvl="0">
                        <a:buNone/>
                      </a:pPr>
                      <a:r>
                        <a:rPr lang="en-US" sz="900"/>
                        <a:t>Christians</a:t>
                      </a:r>
                    </a:p>
                  </a:txBody>
                  <a:tcPr/>
                </a:tc>
                <a:tc>
                  <a:txBody>
                    <a:bodyPr/>
                    <a:lstStyle/>
                    <a:p>
                      <a:pPr lvl="0">
                        <a:buNone/>
                      </a:pPr>
                      <a:r>
                        <a:rPr lang="en-US" sz="900"/>
                        <a:t>Non-Christians</a:t>
                      </a:r>
                    </a:p>
                  </a:txBody>
                  <a:tcPr/>
                </a:tc>
                <a:extLst>
                  <a:ext uri="{0D108BD9-81ED-4DB2-BD59-A6C34878D82A}">
                    <a16:rowId xmlns:a16="http://schemas.microsoft.com/office/drawing/2014/main" val="2529246027"/>
                  </a:ext>
                </a:extLst>
              </a:tr>
              <a:tr h="370840">
                <a:tc>
                  <a:txBody>
                    <a:bodyPr/>
                    <a:lstStyle/>
                    <a:p>
                      <a:pPr lvl="0">
                        <a:buNone/>
                      </a:pPr>
                      <a:r>
                        <a:rPr lang="en-US" sz="900" b="1"/>
                        <a:t>Ethnicity/Race Identity</a:t>
                      </a:r>
                    </a:p>
                  </a:txBody>
                  <a:tcPr/>
                </a:tc>
                <a:tc>
                  <a:txBody>
                    <a:bodyPr/>
                    <a:lstStyle/>
                    <a:p>
                      <a:pPr lvl="0">
                        <a:buNone/>
                      </a:pPr>
                      <a:r>
                        <a:rPr lang="en-US" sz="900"/>
                        <a:t>White or Caucasian</a:t>
                      </a:r>
                    </a:p>
                  </a:txBody>
                  <a:tcPr/>
                </a:tc>
                <a:tc>
                  <a:txBody>
                    <a:bodyPr/>
                    <a:lstStyle/>
                    <a:p>
                      <a:pPr lvl="0">
                        <a:buNone/>
                      </a:pPr>
                      <a:r>
                        <a:rPr lang="en-US" sz="900"/>
                        <a:t>Persons of color</a:t>
                      </a:r>
                    </a:p>
                  </a:txBody>
                  <a:tcPr/>
                </a:tc>
                <a:extLst>
                  <a:ext uri="{0D108BD9-81ED-4DB2-BD59-A6C34878D82A}">
                    <a16:rowId xmlns:a16="http://schemas.microsoft.com/office/drawing/2014/main" val="3574890776"/>
                  </a:ext>
                </a:extLst>
              </a:tr>
              <a:tr h="370840">
                <a:tc>
                  <a:txBody>
                    <a:bodyPr/>
                    <a:lstStyle/>
                    <a:p>
                      <a:pPr lvl="0">
                        <a:buNone/>
                      </a:pPr>
                      <a:r>
                        <a:rPr lang="en-US" sz="900" b="1"/>
                        <a:t>Socioeconomic Status</a:t>
                      </a:r>
                    </a:p>
                  </a:txBody>
                  <a:tcPr/>
                </a:tc>
                <a:tc>
                  <a:txBody>
                    <a:bodyPr/>
                    <a:lstStyle/>
                    <a:p>
                      <a:pPr lvl="0">
                        <a:buNone/>
                      </a:pPr>
                      <a:r>
                        <a:rPr lang="en-US" sz="900"/>
                        <a:t>Owning and middle class (access to higher education)</a:t>
                      </a:r>
                    </a:p>
                  </a:txBody>
                  <a:tcPr/>
                </a:tc>
                <a:tc>
                  <a:txBody>
                    <a:bodyPr/>
                    <a:lstStyle/>
                    <a:p>
                      <a:pPr lvl="0">
                        <a:buNone/>
                      </a:pPr>
                      <a:r>
                        <a:rPr lang="en-US" sz="900"/>
                        <a:t>People of lower status because of occupation, education, income, or rural habitat</a:t>
                      </a:r>
                    </a:p>
                  </a:txBody>
                  <a:tcPr/>
                </a:tc>
                <a:extLst>
                  <a:ext uri="{0D108BD9-81ED-4DB2-BD59-A6C34878D82A}">
                    <a16:rowId xmlns:a16="http://schemas.microsoft.com/office/drawing/2014/main" val="458961062"/>
                  </a:ext>
                </a:extLst>
              </a:tr>
              <a:tr h="370840">
                <a:tc>
                  <a:txBody>
                    <a:bodyPr/>
                    <a:lstStyle/>
                    <a:p>
                      <a:pPr lvl="0">
                        <a:buNone/>
                      </a:pPr>
                      <a:r>
                        <a:rPr lang="en-US" sz="900" b="1"/>
                        <a:t>Sexual Orientation</a:t>
                      </a:r>
                    </a:p>
                  </a:txBody>
                  <a:tcPr/>
                </a:tc>
                <a:tc>
                  <a:txBody>
                    <a:bodyPr/>
                    <a:lstStyle/>
                    <a:p>
                      <a:pPr lvl="0">
                        <a:buNone/>
                      </a:pPr>
                      <a:r>
                        <a:rPr lang="en-US" sz="900"/>
                        <a:t>Heterosexuals</a:t>
                      </a:r>
                    </a:p>
                  </a:txBody>
                  <a:tcPr/>
                </a:tc>
                <a:tc>
                  <a:txBody>
                    <a:bodyPr/>
                    <a:lstStyle/>
                    <a:p>
                      <a:pPr lvl="0">
                        <a:buNone/>
                      </a:pPr>
                      <a:r>
                        <a:rPr lang="en-US" sz="900"/>
                        <a:t>Gays, lesbians, and bisexual people</a:t>
                      </a:r>
                    </a:p>
                  </a:txBody>
                  <a:tcPr/>
                </a:tc>
                <a:extLst>
                  <a:ext uri="{0D108BD9-81ED-4DB2-BD59-A6C34878D82A}">
                    <a16:rowId xmlns:a16="http://schemas.microsoft.com/office/drawing/2014/main" val="708319048"/>
                  </a:ext>
                </a:extLst>
              </a:tr>
              <a:tr h="370840">
                <a:tc>
                  <a:txBody>
                    <a:bodyPr/>
                    <a:lstStyle/>
                    <a:p>
                      <a:pPr lvl="0">
                        <a:buNone/>
                      </a:pPr>
                      <a:r>
                        <a:rPr lang="en-US" sz="900" b="1"/>
                        <a:t>Indigenous Heritage</a:t>
                      </a:r>
                    </a:p>
                  </a:txBody>
                  <a:tcPr/>
                </a:tc>
                <a:tc>
                  <a:txBody>
                    <a:bodyPr/>
                    <a:lstStyle/>
                    <a:p>
                      <a:pPr lvl="0">
                        <a:buNone/>
                      </a:pPr>
                      <a:r>
                        <a:rPr lang="en-US" sz="900"/>
                        <a:t>Non-native</a:t>
                      </a:r>
                    </a:p>
                  </a:txBody>
                  <a:tcPr/>
                </a:tc>
                <a:tc>
                  <a:txBody>
                    <a:bodyPr/>
                    <a:lstStyle/>
                    <a:p>
                      <a:pPr lvl="0">
                        <a:buNone/>
                      </a:pPr>
                      <a:r>
                        <a:rPr lang="en-US" sz="900"/>
                        <a:t>Native</a:t>
                      </a:r>
                    </a:p>
                  </a:txBody>
                  <a:tcPr/>
                </a:tc>
                <a:extLst>
                  <a:ext uri="{0D108BD9-81ED-4DB2-BD59-A6C34878D82A}">
                    <a16:rowId xmlns:a16="http://schemas.microsoft.com/office/drawing/2014/main" val="1176621211"/>
                  </a:ext>
                </a:extLst>
              </a:tr>
              <a:tr h="370840">
                <a:tc>
                  <a:txBody>
                    <a:bodyPr/>
                    <a:lstStyle/>
                    <a:p>
                      <a:pPr lvl="0">
                        <a:buNone/>
                      </a:pPr>
                      <a:r>
                        <a:rPr lang="en-US" sz="900" b="1"/>
                        <a:t>National Origin</a:t>
                      </a:r>
                    </a:p>
                  </a:txBody>
                  <a:tcPr/>
                </a:tc>
                <a:tc>
                  <a:txBody>
                    <a:bodyPr/>
                    <a:lstStyle/>
                    <a:p>
                      <a:pPr lvl="0">
                        <a:buNone/>
                      </a:pPr>
                      <a:r>
                        <a:rPr lang="en-US" sz="900"/>
                        <a:t>U.S. born</a:t>
                      </a:r>
                    </a:p>
                  </a:txBody>
                  <a:tcPr/>
                </a:tc>
                <a:tc>
                  <a:txBody>
                    <a:bodyPr/>
                    <a:lstStyle/>
                    <a:p>
                      <a:pPr lvl="0">
                        <a:buNone/>
                      </a:pPr>
                      <a:r>
                        <a:rPr lang="en-US" sz="900"/>
                        <a:t>Immigrants, refugees, and international students</a:t>
                      </a:r>
                    </a:p>
                  </a:txBody>
                  <a:tcPr/>
                </a:tc>
                <a:extLst>
                  <a:ext uri="{0D108BD9-81ED-4DB2-BD59-A6C34878D82A}">
                    <a16:rowId xmlns:a16="http://schemas.microsoft.com/office/drawing/2014/main" val="1468599525"/>
                  </a:ext>
                </a:extLst>
              </a:tr>
              <a:tr h="370839">
                <a:tc>
                  <a:txBody>
                    <a:bodyPr/>
                    <a:lstStyle/>
                    <a:p>
                      <a:pPr lvl="0">
                        <a:buNone/>
                      </a:pPr>
                      <a:r>
                        <a:rPr lang="en-US" sz="900" b="1"/>
                        <a:t>Gender</a:t>
                      </a:r>
                    </a:p>
                  </a:txBody>
                  <a:tcPr/>
                </a:tc>
                <a:tc>
                  <a:txBody>
                    <a:bodyPr/>
                    <a:lstStyle/>
                    <a:p>
                      <a:pPr lvl="0">
                        <a:buNone/>
                      </a:pPr>
                      <a:r>
                        <a:rPr lang="en-US" sz="900"/>
                        <a:t>Male</a:t>
                      </a:r>
                    </a:p>
                  </a:txBody>
                  <a:tcPr/>
                </a:tc>
                <a:tc>
                  <a:txBody>
                    <a:bodyPr/>
                    <a:lstStyle/>
                    <a:p>
                      <a:pPr lvl="0">
                        <a:buNone/>
                      </a:pPr>
                      <a:r>
                        <a:rPr lang="en-US" sz="900"/>
                        <a:t>Women, transgender, and intersex people</a:t>
                      </a:r>
                    </a:p>
                  </a:txBody>
                  <a:tcPr/>
                </a:tc>
                <a:extLst>
                  <a:ext uri="{0D108BD9-81ED-4DB2-BD59-A6C34878D82A}">
                    <a16:rowId xmlns:a16="http://schemas.microsoft.com/office/drawing/2014/main" val="1174406493"/>
                  </a:ext>
                </a:extLst>
              </a:tr>
            </a:tbl>
          </a:graphicData>
        </a:graphic>
      </p:graphicFrame>
    </p:spTree>
    <p:extLst>
      <p:ext uri="{BB962C8B-B14F-4D97-AF65-F5344CB8AC3E}">
        <p14:creationId xmlns:p14="http://schemas.microsoft.com/office/powerpoint/2010/main" val="5611336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5B3B43B-FBDC-7189-E012-1ED4888FAD97}"/>
              </a:ext>
            </a:extLst>
          </p:cNvPr>
          <p:cNvSpPr>
            <a:spLocks noGrp="1"/>
          </p:cNvSpPr>
          <p:nvPr>
            <p:ph type="sldNum" sz="quarter" idx="12"/>
          </p:nvPr>
        </p:nvSpPr>
        <p:spPr/>
        <p:txBody>
          <a:bodyPr/>
          <a:lstStyle/>
          <a:p>
            <a:fld id="{D983F1FA-211D-3044-9E35-958DFBC26156}" type="slidenum">
              <a:rPr lang="en-US" smtClean="0">
                <a:solidFill>
                  <a:prstClr val="white"/>
                </a:solidFill>
              </a:rPr>
              <a:pPr/>
              <a:t>11</a:t>
            </a:fld>
            <a:endParaRPr lang="en-US">
              <a:solidFill>
                <a:prstClr val="white"/>
              </a:solidFill>
            </a:endParaRPr>
          </a:p>
        </p:txBody>
      </p:sp>
      <p:sp>
        <p:nvSpPr>
          <p:cNvPr id="4" name="Title 3">
            <a:extLst>
              <a:ext uri="{FF2B5EF4-FFF2-40B4-BE49-F238E27FC236}">
                <a16:creationId xmlns:a16="http://schemas.microsoft.com/office/drawing/2014/main" id="{8B8A026F-6AC6-A716-5223-E5792A613118}"/>
              </a:ext>
            </a:extLst>
          </p:cNvPr>
          <p:cNvSpPr>
            <a:spLocks noGrp="1"/>
          </p:cNvSpPr>
          <p:nvPr>
            <p:ph type="title"/>
          </p:nvPr>
        </p:nvSpPr>
        <p:spPr/>
        <p:txBody>
          <a:bodyPr>
            <a:normAutofit fontScale="90000"/>
          </a:bodyPr>
          <a:lstStyle/>
          <a:p>
            <a:r>
              <a:rPr lang="en-US">
                <a:latin typeface="Arial"/>
                <a:cs typeface="Arial"/>
              </a:rPr>
              <a:t>Practical Tips: How Do We Put LGBTQ+ Veterans at Ease?</a:t>
            </a:r>
            <a:endParaRPr lang="en-US"/>
          </a:p>
        </p:txBody>
      </p:sp>
      <p:sp>
        <p:nvSpPr>
          <p:cNvPr id="2" name="Content Placeholder 1">
            <a:extLst>
              <a:ext uri="{FF2B5EF4-FFF2-40B4-BE49-F238E27FC236}">
                <a16:creationId xmlns:a16="http://schemas.microsoft.com/office/drawing/2014/main" id="{D717D3A6-1E80-7D90-1926-C467ED681D85}"/>
              </a:ext>
            </a:extLst>
          </p:cNvPr>
          <p:cNvSpPr>
            <a:spLocks noGrp="1"/>
          </p:cNvSpPr>
          <p:nvPr>
            <p:ph idx="4294967295"/>
          </p:nvPr>
        </p:nvSpPr>
        <p:spPr>
          <a:xfrm>
            <a:off x="513907" y="990600"/>
            <a:ext cx="6883400" cy="5008563"/>
          </a:xfrm>
        </p:spPr>
        <p:txBody>
          <a:bodyPr vert="horz" lIns="91440" tIns="45720" rIns="91440" bIns="45720" rtlCol="0" anchor="t">
            <a:normAutofit fontScale="77500" lnSpcReduction="20000"/>
          </a:bodyPr>
          <a:lstStyle/>
          <a:p>
            <a:pPr marL="457200" indent="-457200">
              <a:buAutoNum type="arabicPeriod"/>
            </a:pPr>
            <a:r>
              <a:rPr lang="en-US" b="1">
                <a:latin typeface="Arial"/>
                <a:cs typeface="Arial"/>
              </a:rPr>
              <a:t>Familiarize with Policies</a:t>
            </a:r>
            <a:r>
              <a:rPr lang="en-US">
                <a:latin typeface="Arial"/>
                <a:cs typeface="Arial"/>
              </a:rPr>
              <a:t>: Review </a:t>
            </a:r>
            <a:r>
              <a:rPr lang="en-US">
                <a:latin typeface="Arial"/>
                <a:cs typeface="Arial"/>
                <a:hlinkClick r:id="rId3"/>
              </a:rPr>
              <a:t>VHA Directives 1340 and 1341</a:t>
            </a:r>
            <a:r>
              <a:rPr lang="en-US">
                <a:latin typeface="Arial"/>
                <a:cs typeface="Arial"/>
              </a:rPr>
              <a:t> to understand protections for LGBTQ+ Veterans at VA.</a:t>
            </a:r>
            <a:endParaRPr lang="en-US"/>
          </a:p>
          <a:p>
            <a:pPr marL="457200" indent="-457200">
              <a:buAutoNum type="arabicPeriod"/>
            </a:pPr>
            <a:r>
              <a:rPr lang="en-US" b="1">
                <a:latin typeface="Arial"/>
                <a:cs typeface="Arial"/>
              </a:rPr>
              <a:t>Respectful Communication Do's</a:t>
            </a:r>
            <a:r>
              <a:rPr lang="en-US">
                <a:latin typeface="Arial"/>
                <a:cs typeface="Arial"/>
              </a:rPr>
              <a:t>:</a:t>
            </a:r>
            <a:endParaRPr lang="en-US"/>
          </a:p>
          <a:p>
            <a:pPr marL="556895" lvl="1" indent="-213995"/>
            <a:r>
              <a:rPr lang="en-US">
                <a:latin typeface="Arial"/>
                <a:cs typeface="Arial"/>
              </a:rPr>
              <a:t>Use the Veteran's preferred name and pronouns, even if different from legal records.</a:t>
            </a:r>
            <a:endParaRPr lang="en-US"/>
          </a:p>
          <a:p>
            <a:pPr marL="556895" lvl="1" indent="-213995"/>
            <a:r>
              <a:rPr lang="en-US">
                <a:latin typeface="Arial"/>
                <a:cs typeface="Arial"/>
              </a:rPr>
              <a:t>Use gender-neutral language (e.g., “Veteran” instead of “Mr./Ms.”).</a:t>
            </a:r>
            <a:endParaRPr lang="en-US"/>
          </a:p>
          <a:p>
            <a:pPr marL="556895" lvl="1" indent="-213995"/>
            <a:r>
              <a:rPr lang="en-US">
                <a:latin typeface="Arial"/>
                <a:cs typeface="Arial"/>
              </a:rPr>
              <a:t>Avoid assumptions about the gender of their partner(s).</a:t>
            </a:r>
            <a:endParaRPr lang="en-US"/>
          </a:p>
          <a:p>
            <a:pPr marL="457200" indent="-457200">
              <a:buAutoNum type="arabicPeriod"/>
            </a:pPr>
            <a:r>
              <a:rPr lang="en-US" b="1">
                <a:latin typeface="Arial"/>
                <a:cs typeface="Arial"/>
              </a:rPr>
              <a:t>Respectful Communication Don’ts</a:t>
            </a:r>
            <a:r>
              <a:rPr lang="en-US">
                <a:latin typeface="Arial"/>
                <a:cs typeface="Arial"/>
              </a:rPr>
              <a:t>:</a:t>
            </a:r>
            <a:endParaRPr lang="en-US"/>
          </a:p>
          <a:p>
            <a:pPr marL="556895" lvl="1" indent="-213995"/>
            <a:r>
              <a:rPr lang="en-US">
                <a:latin typeface="Arial"/>
                <a:cs typeface="Arial"/>
              </a:rPr>
              <a:t>Avoid making religious or moral comments about their identity.</a:t>
            </a:r>
            <a:endParaRPr lang="en-US"/>
          </a:p>
          <a:p>
            <a:pPr marL="556895" lvl="1" indent="-213995"/>
            <a:r>
              <a:rPr lang="en-US">
                <a:latin typeface="Arial"/>
                <a:cs typeface="Arial"/>
              </a:rPr>
              <a:t>Don’t use outdated or offensive terms like "homosexual" or "lifestyle" to refer to LGBTQ+ folks.</a:t>
            </a:r>
            <a:endParaRPr lang="en-US"/>
          </a:p>
          <a:p>
            <a:pPr marL="457200" indent="-457200">
              <a:buAutoNum type="arabicPeriod"/>
            </a:pPr>
            <a:r>
              <a:rPr lang="en-US" b="1">
                <a:latin typeface="Arial"/>
                <a:cs typeface="Arial"/>
              </a:rPr>
              <a:t>Demonstrate Allyship</a:t>
            </a:r>
            <a:r>
              <a:rPr lang="en-US">
                <a:latin typeface="Arial"/>
                <a:cs typeface="Arial"/>
              </a:rPr>
              <a:t>:</a:t>
            </a:r>
            <a:endParaRPr lang="en-US"/>
          </a:p>
          <a:p>
            <a:pPr marL="556895" lvl="1" indent="-213995"/>
            <a:r>
              <a:rPr lang="en-US">
                <a:latin typeface="Arial"/>
                <a:cs typeface="Arial"/>
              </a:rPr>
              <a:t>Display symbols of support, like a progress pride flag.</a:t>
            </a:r>
            <a:endParaRPr lang="en-US"/>
          </a:p>
          <a:p>
            <a:pPr marL="556895" lvl="1" indent="-213995"/>
            <a:r>
              <a:rPr lang="en-US">
                <a:latin typeface="Arial"/>
                <a:cs typeface="Arial"/>
              </a:rPr>
              <a:t>Share your pronouns openly.</a:t>
            </a:r>
            <a:endParaRPr lang="en-US"/>
          </a:p>
          <a:p>
            <a:pPr marL="457200" indent="-457200">
              <a:buAutoNum type="arabicPeriod"/>
            </a:pPr>
            <a:r>
              <a:rPr lang="en-US" b="1">
                <a:latin typeface="Arial"/>
                <a:cs typeface="Arial"/>
              </a:rPr>
              <a:t>Utilize Resources</a:t>
            </a:r>
            <a:r>
              <a:rPr lang="en-US">
                <a:latin typeface="Arial"/>
                <a:cs typeface="Arial"/>
              </a:rPr>
              <a:t>: Stay informed about VA services supporting LGBTQ+ Veterans.</a:t>
            </a:r>
            <a:endParaRPr lang="en-US"/>
          </a:p>
        </p:txBody>
      </p:sp>
      <p:pic>
        <p:nvPicPr>
          <p:cNvPr id="6" name="Picture 5">
            <a:extLst>
              <a:ext uri="{FF2B5EF4-FFF2-40B4-BE49-F238E27FC236}">
                <a16:creationId xmlns:a16="http://schemas.microsoft.com/office/drawing/2014/main" id="{89711EE6-8F04-C5E3-C059-6F3E2E8CAAF0}"/>
              </a:ext>
            </a:extLst>
          </p:cNvPr>
          <p:cNvPicPr>
            <a:picLocks noChangeAspect="1"/>
          </p:cNvPicPr>
          <p:nvPr/>
        </p:nvPicPr>
        <p:blipFill>
          <a:blip r:embed="rId4"/>
          <a:stretch>
            <a:fillRect/>
          </a:stretch>
        </p:blipFill>
        <p:spPr>
          <a:xfrm>
            <a:off x="7458307" y="990600"/>
            <a:ext cx="4421459" cy="4421459"/>
          </a:xfrm>
          <a:prstGeom prst="rect">
            <a:avLst/>
          </a:prstGeom>
        </p:spPr>
      </p:pic>
    </p:spTree>
    <p:extLst>
      <p:ext uri="{BB962C8B-B14F-4D97-AF65-F5344CB8AC3E}">
        <p14:creationId xmlns:p14="http://schemas.microsoft.com/office/powerpoint/2010/main" val="1114684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7D94DDD-D34A-BB50-A070-8AE127DDD5C9}"/>
              </a:ext>
            </a:extLst>
          </p:cNvPr>
          <p:cNvSpPr>
            <a:spLocks noGrp="1"/>
          </p:cNvSpPr>
          <p:nvPr>
            <p:ph type="sldNum" sz="quarter" idx="12"/>
          </p:nvPr>
        </p:nvSpPr>
        <p:spPr/>
        <p:txBody>
          <a:bodyPr/>
          <a:lstStyle/>
          <a:p>
            <a:fld id="{D983F1FA-211D-3044-9E35-958DFBC26156}" type="slidenum">
              <a:rPr lang="en-US" smtClean="0">
                <a:solidFill>
                  <a:prstClr val="white"/>
                </a:solidFill>
              </a:rPr>
              <a:pPr/>
              <a:t>12</a:t>
            </a:fld>
            <a:endParaRPr lang="en-US">
              <a:solidFill>
                <a:prstClr val="white"/>
              </a:solidFill>
            </a:endParaRPr>
          </a:p>
        </p:txBody>
      </p:sp>
      <p:sp>
        <p:nvSpPr>
          <p:cNvPr id="4" name="Title 3">
            <a:extLst>
              <a:ext uri="{FF2B5EF4-FFF2-40B4-BE49-F238E27FC236}">
                <a16:creationId xmlns:a16="http://schemas.microsoft.com/office/drawing/2014/main" id="{437895D1-1895-2822-9138-DC4424BE5898}"/>
              </a:ext>
            </a:extLst>
          </p:cNvPr>
          <p:cNvSpPr>
            <a:spLocks noGrp="1"/>
          </p:cNvSpPr>
          <p:nvPr>
            <p:ph type="title"/>
          </p:nvPr>
        </p:nvSpPr>
        <p:spPr/>
        <p:txBody>
          <a:bodyPr/>
          <a:lstStyle/>
          <a:p>
            <a:r>
              <a:rPr lang="en-US">
                <a:latin typeface="Arial"/>
                <a:cs typeface="Arial"/>
              </a:rPr>
              <a:t>LGBTQ+ Veteran Care and Services at VHA</a:t>
            </a:r>
            <a:endParaRPr lang="en-US"/>
          </a:p>
        </p:txBody>
      </p:sp>
      <p:graphicFrame>
        <p:nvGraphicFramePr>
          <p:cNvPr id="5" name="Content Placeholder 4">
            <a:extLst>
              <a:ext uri="{FF2B5EF4-FFF2-40B4-BE49-F238E27FC236}">
                <a16:creationId xmlns:a16="http://schemas.microsoft.com/office/drawing/2014/main" id="{F3E32E7C-4FD7-B7CC-0F73-FE8D680B39AF}"/>
              </a:ext>
            </a:extLst>
          </p:cNvPr>
          <p:cNvGraphicFramePr>
            <a:graphicFrameLocks noGrp="1"/>
          </p:cNvGraphicFramePr>
          <p:nvPr>
            <p:ph idx="4294967295"/>
            <p:extLst>
              <p:ext uri="{D42A27DB-BD31-4B8C-83A1-F6EECF244321}">
                <p14:modId xmlns:p14="http://schemas.microsoft.com/office/powerpoint/2010/main" val="3821583946"/>
              </p:ext>
            </p:extLst>
          </p:nvPr>
        </p:nvGraphicFramePr>
        <p:xfrm>
          <a:off x="611372" y="1167809"/>
          <a:ext cx="109728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998868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EC55779-382F-2BF0-3EFD-DF7A8BF931A3}"/>
              </a:ext>
            </a:extLst>
          </p:cNvPr>
          <p:cNvSpPr>
            <a:spLocks noGrp="1"/>
          </p:cNvSpPr>
          <p:nvPr>
            <p:ph type="sldNum" sz="quarter" idx="12"/>
          </p:nvPr>
        </p:nvSpPr>
        <p:spPr/>
        <p:txBody>
          <a:bodyPr/>
          <a:lstStyle/>
          <a:p>
            <a:fld id="{D983F1FA-211D-3044-9E35-958DFBC26156}" type="slidenum">
              <a:rPr lang="en-US" smtClean="0">
                <a:solidFill>
                  <a:prstClr val="white"/>
                </a:solidFill>
              </a:rPr>
              <a:pPr/>
              <a:t>13</a:t>
            </a:fld>
            <a:endParaRPr lang="en-US">
              <a:solidFill>
                <a:prstClr val="white"/>
              </a:solidFill>
            </a:endParaRPr>
          </a:p>
        </p:txBody>
      </p:sp>
      <p:sp>
        <p:nvSpPr>
          <p:cNvPr id="4" name="Title 3">
            <a:extLst>
              <a:ext uri="{FF2B5EF4-FFF2-40B4-BE49-F238E27FC236}">
                <a16:creationId xmlns:a16="http://schemas.microsoft.com/office/drawing/2014/main" id="{2453A104-A621-B691-11DB-2F8927A3CCD1}"/>
              </a:ext>
            </a:extLst>
          </p:cNvPr>
          <p:cNvSpPr>
            <a:spLocks noGrp="1"/>
          </p:cNvSpPr>
          <p:nvPr>
            <p:ph type="title"/>
          </p:nvPr>
        </p:nvSpPr>
        <p:spPr/>
        <p:txBody>
          <a:bodyPr/>
          <a:lstStyle/>
          <a:p>
            <a:r>
              <a:rPr lang="en-US">
                <a:latin typeface="Arial"/>
                <a:cs typeface="Arial"/>
              </a:rPr>
              <a:t>Discharge Upgrades for LGBTQ+ Veterans</a:t>
            </a:r>
            <a:endParaRPr lang="en-US"/>
          </a:p>
        </p:txBody>
      </p:sp>
      <p:sp>
        <p:nvSpPr>
          <p:cNvPr id="2" name="Content Placeholder 1">
            <a:extLst>
              <a:ext uri="{FF2B5EF4-FFF2-40B4-BE49-F238E27FC236}">
                <a16:creationId xmlns:a16="http://schemas.microsoft.com/office/drawing/2014/main" id="{18E25698-3CF6-EEC7-61AE-EB3C3FCAC733}"/>
              </a:ext>
            </a:extLst>
          </p:cNvPr>
          <p:cNvSpPr>
            <a:spLocks noGrp="1"/>
          </p:cNvSpPr>
          <p:nvPr>
            <p:ph idx="4294967295"/>
          </p:nvPr>
        </p:nvSpPr>
        <p:spPr>
          <a:xfrm>
            <a:off x="611372" y="1096926"/>
            <a:ext cx="10972800" cy="4525963"/>
          </a:xfrm>
        </p:spPr>
        <p:txBody>
          <a:bodyPr vert="horz" lIns="91440" tIns="45720" rIns="91440" bIns="45720" rtlCol="0" anchor="t">
            <a:normAutofit fontScale="70000" lnSpcReduction="20000"/>
          </a:bodyPr>
          <a:lstStyle/>
          <a:p>
            <a:pPr>
              <a:spcBef>
                <a:spcPts val="1400"/>
              </a:spcBef>
              <a:spcAft>
                <a:spcPts val="500"/>
              </a:spcAft>
            </a:pPr>
            <a:r>
              <a:rPr lang="en-US" b="1">
                <a:latin typeface="Arial"/>
                <a:cs typeface="Arial"/>
              </a:rPr>
              <a:t>Historical Context of DADT</a:t>
            </a:r>
            <a:r>
              <a:rPr lang="en-US">
                <a:latin typeface="Arial"/>
                <a:cs typeface="Arial"/>
              </a:rPr>
              <a:t>: Enacted in 1993, DADT prohibited military service members from openly identifying as LGBTQ+, leading to over 14,000 discharges.</a:t>
            </a:r>
            <a:endParaRPr lang="en-US"/>
          </a:p>
          <a:p>
            <a:pPr>
              <a:spcBef>
                <a:spcPts val="1400"/>
              </a:spcBef>
              <a:spcAft>
                <a:spcPts val="500"/>
              </a:spcAft>
            </a:pPr>
            <a:r>
              <a:rPr lang="en-US" b="1">
                <a:latin typeface="Arial"/>
                <a:cs typeface="Arial"/>
              </a:rPr>
              <a:t>Reversal of DADT</a:t>
            </a:r>
            <a:r>
              <a:rPr lang="en-US">
                <a:latin typeface="Arial"/>
                <a:cs typeface="Arial"/>
              </a:rPr>
              <a:t>: The policy was repealed in 2011, allowing LGBTQ+ individuals to serve openly in the military.</a:t>
            </a:r>
            <a:endParaRPr lang="en-US"/>
          </a:p>
          <a:p>
            <a:pPr>
              <a:spcBef>
                <a:spcPts val="1400"/>
              </a:spcBef>
              <a:spcAft>
                <a:spcPts val="500"/>
              </a:spcAft>
            </a:pPr>
            <a:r>
              <a:rPr lang="en-US" b="1">
                <a:latin typeface="Arial"/>
                <a:cs typeface="Arial"/>
              </a:rPr>
              <a:t>Discharge Upgrade Eligibility</a:t>
            </a:r>
            <a:r>
              <a:rPr lang="en-US">
                <a:latin typeface="Arial"/>
                <a:cs typeface="Arial"/>
              </a:rPr>
              <a:t>: LGBTQ+ veterans discharged under DADT or earlier policies due to their sexual orientation may be eligible for discharge upgrades.</a:t>
            </a:r>
            <a:endParaRPr lang="en-US"/>
          </a:p>
          <a:p>
            <a:pPr>
              <a:spcBef>
                <a:spcPts val="1400"/>
              </a:spcBef>
              <a:spcAft>
                <a:spcPts val="500"/>
              </a:spcAft>
            </a:pPr>
            <a:r>
              <a:rPr lang="en-US" b="1">
                <a:latin typeface="Arial"/>
                <a:cs typeface="Arial"/>
              </a:rPr>
              <a:t>Correcting Military Records</a:t>
            </a:r>
            <a:r>
              <a:rPr lang="en-US">
                <a:latin typeface="Arial"/>
                <a:cs typeface="Arial"/>
              </a:rPr>
              <a:t>: Veterans can apply for a correction of their discharge status (e.g., from "other than honorable" to "honorable") to reflect their service accurately and equitably.</a:t>
            </a:r>
            <a:endParaRPr lang="en-US"/>
          </a:p>
          <a:p>
            <a:pPr>
              <a:spcBef>
                <a:spcPts val="1400"/>
              </a:spcBef>
              <a:spcAft>
                <a:spcPts val="500"/>
              </a:spcAft>
            </a:pPr>
            <a:r>
              <a:rPr lang="en-US" b="1">
                <a:latin typeface="Arial"/>
                <a:cs typeface="Arial"/>
              </a:rPr>
              <a:t>Benefits of Upgraded Discharges</a:t>
            </a:r>
            <a:r>
              <a:rPr lang="en-US">
                <a:latin typeface="Arial"/>
                <a:cs typeface="Arial"/>
              </a:rPr>
              <a:t>: An upgraded discharge can restore access to VA benefits, such as healthcare, GI Bill education benefits, and home loans.</a:t>
            </a:r>
            <a:endParaRPr lang="en-US"/>
          </a:p>
          <a:p>
            <a:pPr>
              <a:spcBef>
                <a:spcPts val="1400"/>
              </a:spcBef>
              <a:spcAft>
                <a:spcPts val="500"/>
              </a:spcAft>
            </a:pPr>
            <a:r>
              <a:rPr lang="en-US" b="1">
                <a:latin typeface="Arial"/>
                <a:cs typeface="Arial"/>
              </a:rPr>
              <a:t>Application Process</a:t>
            </a:r>
            <a:r>
              <a:rPr lang="en-US">
                <a:latin typeface="Arial"/>
                <a:cs typeface="Arial"/>
              </a:rPr>
              <a:t>: Go to </a:t>
            </a:r>
            <a:r>
              <a:rPr lang="en-US">
                <a:latin typeface="Arial"/>
                <a:cs typeface="Arial"/>
                <a:hlinkClick r:id="rId3"/>
              </a:rPr>
              <a:t>How To Apply For A Discharge Upgrade | Veterans Affairs (va.gov)</a:t>
            </a:r>
            <a:endParaRPr lang="en-US"/>
          </a:p>
          <a:p>
            <a:pPr>
              <a:spcBef>
                <a:spcPts val="1400"/>
              </a:spcBef>
              <a:spcAft>
                <a:spcPts val="500"/>
              </a:spcAft>
            </a:pPr>
            <a:r>
              <a:rPr lang="en-US" b="1">
                <a:latin typeface="Arial"/>
                <a:cs typeface="Arial"/>
              </a:rPr>
              <a:t>Supporting Evidence</a:t>
            </a:r>
            <a:r>
              <a:rPr lang="en-US">
                <a:latin typeface="Arial"/>
                <a:cs typeface="Arial"/>
              </a:rPr>
              <a:t>: LGBTQ+ veterans should include evidence showing the discharge was based on DADT or related policies, such as service records, affidavits, or personal statements.</a:t>
            </a:r>
            <a:endParaRPr lang="en-US"/>
          </a:p>
          <a:p>
            <a:pPr>
              <a:spcBef>
                <a:spcPts val="1400"/>
              </a:spcBef>
              <a:spcAft>
                <a:spcPts val="500"/>
              </a:spcAft>
            </a:pPr>
            <a:endParaRPr lang="en-US"/>
          </a:p>
          <a:p>
            <a:endParaRPr lang="en-US"/>
          </a:p>
        </p:txBody>
      </p:sp>
    </p:spTree>
    <p:extLst>
      <p:ext uri="{BB962C8B-B14F-4D97-AF65-F5344CB8AC3E}">
        <p14:creationId xmlns:p14="http://schemas.microsoft.com/office/powerpoint/2010/main" val="35298003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00B4592-2150-0E74-3F0A-521DC2967A5A}"/>
              </a:ext>
            </a:extLst>
          </p:cNvPr>
          <p:cNvSpPr>
            <a:spLocks noGrp="1"/>
          </p:cNvSpPr>
          <p:nvPr>
            <p:ph type="sldNum" sz="quarter" idx="12"/>
          </p:nvPr>
        </p:nvSpPr>
        <p:spPr/>
        <p:txBody>
          <a:bodyPr/>
          <a:lstStyle/>
          <a:p>
            <a:fld id="{D983F1FA-211D-3044-9E35-958DFBC26156}" type="slidenum">
              <a:rPr lang="en-US" smtClean="0">
                <a:solidFill>
                  <a:prstClr val="white"/>
                </a:solidFill>
              </a:rPr>
              <a:pPr/>
              <a:t>14</a:t>
            </a:fld>
            <a:endParaRPr lang="en-US">
              <a:solidFill>
                <a:prstClr val="white"/>
              </a:solidFill>
            </a:endParaRPr>
          </a:p>
        </p:txBody>
      </p:sp>
      <p:sp>
        <p:nvSpPr>
          <p:cNvPr id="4" name="Title 3">
            <a:extLst>
              <a:ext uri="{FF2B5EF4-FFF2-40B4-BE49-F238E27FC236}">
                <a16:creationId xmlns:a16="http://schemas.microsoft.com/office/drawing/2014/main" id="{2D73C57F-72DD-0C2A-58ED-5725C203E3A6}"/>
              </a:ext>
            </a:extLst>
          </p:cNvPr>
          <p:cNvSpPr>
            <a:spLocks noGrp="1"/>
          </p:cNvSpPr>
          <p:nvPr>
            <p:ph type="title"/>
          </p:nvPr>
        </p:nvSpPr>
        <p:spPr/>
        <p:txBody>
          <a:bodyPr/>
          <a:lstStyle/>
          <a:p>
            <a:r>
              <a:rPr lang="en-US">
                <a:latin typeface="Arial"/>
                <a:cs typeface="Arial"/>
              </a:rPr>
              <a:t>Diversity Beyond LGBTQ+</a:t>
            </a:r>
            <a:endParaRPr lang="en-US"/>
          </a:p>
        </p:txBody>
      </p:sp>
      <p:sp>
        <p:nvSpPr>
          <p:cNvPr id="2" name="Content Placeholder 1">
            <a:extLst>
              <a:ext uri="{FF2B5EF4-FFF2-40B4-BE49-F238E27FC236}">
                <a16:creationId xmlns:a16="http://schemas.microsoft.com/office/drawing/2014/main" id="{848AA0BC-3006-64D6-9D73-053FE9E1848F}"/>
              </a:ext>
            </a:extLst>
          </p:cNvPr>
          <p:cNvSpPr>
            <a:spLocks noGrp="1"/>
          </p:cNvSpPr>
          <p:nvPr>
            <p:ph idx="4294967295"/>
          </p:nvPr>
        </p:nvSpPr>
        <p:spPr>
          <a:xfrm>
            <a:off x="460744" y="981740"/>
            <a:ext cx="10972800" cy="4525963"/>
          </a:xfrm>
        </p:spPr>
        <p:txBody>
          <a:bodyPr vert="horz" lIns="91440" tIns="45720" rIns="91440" bIns="45720" rtlCol="0" anchor="t">
            <a:normAutofit/>
          </a:bodyPr>
          <a:lstStyle/>
          <a:p>
            <a:r>
              <a:rPr lang="en-US">
                <a:latin typeface="Arial"/>
                <a:cs typeface="Arial"/>
                <a:hlinkClick r:id="rId3"/>
              </a:rPr>
              <a:t>Minority Veteran Statistics</a:t>
            </a:r>
          </a:p>
          <a:p>
            <a:pPr marL="556895" lvl="1" indent="-213995"/>
            <a:r>
              <a:rPr lang="en-US" i="1">
                <a:latin typeface="Arial"/>
                <a:cs typeface="Arial"/>
              </a:rPr>
              <a:t>Description</a:t>
            </a:r>
            <a:r>
              <a:rPr lang="en-US">
                <a:latin typeface="Arial"/>
                <a:cs typeface="Arial"/>
              </a:rPr>
              <a:t>: This page provides data and resources about racial and ethnic disparities experienced by Veterans. It includes comparative health outcomes, tools, and information on health equity efforts.</a:t>
            </a:r>
          </a:p>
        </p:txBody>
      </p:sp>
      <p:pic>
        <p:nvPicPr>
          <p:cNvPr id="5" name="Picture 4">
            <a:extLst>
              <a:ext uri="{FF2B5EF4-FFF2-40B4-BE49-F238E27FC236}">
                <a16:creationId xmlns:a16="http://schemas.microsoft.com/office/drawing/2014/main" id="{3E3EDEEB-64BC-EC74-4116-290769448B89}"/>
              </a:ext>
            </a:extLst>
          </p:cNvPr>
          <p:cNvPicPr>
            <a:picLocks noChangeAspect="1"/>
          </p:cNvPicPr>
          <p:nvPr/>
        </p:nvPicPr>
        <p:blipFill>
          <a:blip r:embed="rId4"/>
          <a:stretch>
            <a:fillRect/>
          </a:stretch>
        </p:blipFill>
        <p:spPr>
          <a:xfrm>
            <a:off x="0" y="2799262"/>
            <a:ext cx="12192000" cy="2839233"/>
          </a:xfrm>
          <a:prstGeom prst="rect">
            <a:avLst/>
          </a:prstGeom>
        </p:spPr>
      </p:pic>
    </p:spTree>
    <p:extLst>
      <p:ext uri="{BB962C8B-B14F-4D97-AF65-F5344CB8AC3E}">
        <p14:creationId xmlns:p14="http://schemas.microsoft.com/office/powerpoint/2010/main" val="3897609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7FE364D-42BA-355F-189B-ABDD6427B9C9}"/>
              </a:ext>
            </a:extLst>
          </p:cNvPr>
          <p:cNvSpPr>
            <a:spLocks noGrp="1"/>
          </p:cNvSpPr>
          <p:nvPr>
            <p:ph type="sldNum" sz="quarter" idx="12"/>
          </p:nvPr>
        </p:nvSpPr>
        <p:spPr/>
        <p:txBody>
          <a:bodyPr/>
          <a:lstStyle/>
          <a:p>
            <a:fld id="{D983F1FA-211D-3044-9E35-958DFBC26156}" type="slidenum">
              <a:rPr lang="en-US" smtClean="0">
                <a:solidFill>
                  <a:prstClr val="white"/>
                </a:solidFill>
              </a:rPr>
              <a:pPr/>
              <a:t>15</a:t>
            </a:fld>
            <a:endParaRPr lang="en-US">
              <a:solidFill>
                <a:prstClr val="white"/>
              </a:solidFill>
            </a:endParaRPr>
          </a:p>
        </p:txBody>
      </p:sp>
      <p:sp>
        <p:nvSpPr>
          <p:cNvPr id="4" name="Title 3">
            <a:extLst>
              <a:ext uri="{FF2B5EF4-FFF2-40B4-BE49-F238E27FC236}">
                <a16:creationId xmlns:a16="http://schemas.microsoft.com/office/drawing/2014/main" id="{3A8CE5BC-997B-04E4-AE1D-9D19D54A2B39}"/>
              </a:ext>
            </a:extLst>
          </p:cNvPr>
          <p:cNvSpPr>
            <a:spLocks noGrp="1"/>
          </p:cNvSpPr>
          <p:nvPr>
            <p:ph type="title"/>
          </p:nvPr>
        </p:nvSpPr>
        <p:spPr/>
        <p:txBody>
          <a:bodyPr/>
          <a:lstStyle/>
          <a:p>
            <a:r>
              <a:rPr lang="en-US">
                <a:latin typeface="Arial"/>
                <a:cs typeface="Arial"/>
              </a:rPr>
              <a:t>Resources</a:t>
            </a:r>
            <a:endParaRPr lang="en-US"/>
          </a:p>
        </p:txBody>
      </p:sp>
      <p:sp>
        <p:nvSpPr>
          <p:cNvPr id="2" name="Content Placeholder 1">
            <a:extLst>
              <a:ext uri="{FF2B5EF4-FFF2-40B4-BE49-F238E27FC236}">
                <a16:creationId xmlns:a16="http://schemas.microsoft.com/office/drawing/2014/main" id="{A75E7B6B-B01D-F9F2-BDF6-5FD3C6A27870}"/>
              </a:ext>
            </a:extLst>
          </p:cNvPr>
          <p:cNvSpPr>
            <a:spLocks noGrp="1"/>
          </p:cNvSpPr>
          <p:nvPr>
            <p:ph idx="4294967295"/>
          </p:nvPr>
        </p:nvSpPr>
        <p:spPr>
          <a:xfrm>
            <a:off x="611372" y="1034902"/>
            <a:ext cx="10972800" cy="4525963"/>
          </a:xfrm>
        </p:spPr>
        <p:txBody>
          <a:bodyPr vert="horz" lIns="91440" tIns="45720" rIns="91440" bIns="45720" rtlCol="0" anchor="t">
            <a:normAutofit fontScale="47500" lnSpcReduction="20000"/>
          </a:bodyPr>
          <a:lstStyle/>
          <a:p>
            <a:r>
              <a:rPr lang="en-US" b="1">
                <a:latin typeface="Arial"/>
                <a:cs typeface="Arial"/>
              </a:rPr>
              <a:t>Center for Minority Veterans (CMV)</a:t>
            </a:r>
            <a:endParaRPr lang="en-US">
              <a:latin typeface="Arial"/>
              <a:cs typeface="Arial"/>
            </a:endParaRPr>
          </a:p>
          <a:p>
            <a:pPr marL="556895" lvl="1" indent="-213995"/>
            <a:r>
              <a:rPr lang="en-US">
                <a:latin typeface="Arial"/>
                <a:cs typeface="Arial"/>
                <a:hlinkClick r:id="rId3"/>
              </a:rPr>
              <a:t>https://www.va.gov/centerforminorityveterans/</a:t>
            </a:r>
            <a:endParaRPr lang="en-US"/>
          </a:p>
          <a:p>
            <a:pPr marL="556895" lvl="1" indent="-213995"/>
            <a:r>
              <a:rPr lang="en-US" i="1">
                <a:latin typeface="Arial"/>
                <a:cs typeface="Arial"/>
              </a:rPr>
              <a:t>Description</a:t>
            </a:r>
            <a:r>
              <a:rPr lang="en-US">
                <a:latin typeface="Arial"/>
                <a:cs typeface="Arial"/>
              </a:rPr>
              <a:t>: Provides information about CMV’s mission, programs, and initiatives for minority Veterans, including LGBTQ+ Veterans.</a:t>
            </a:r>
            <a:endParaRPr lang="en-US"/>
          </a:p>
          <a:p>
            <a:pPr marL="342900" lvl="1" indent="0">
              <a:buNone/>
            </a:pPr>
            <a:endParaRPr lang="en-US">
              <a:latin typeface="Arial"/>
              <a:cs typeface="Arial"/>
            </a:endParaRPr>
          </a:p>
          <a:p>
            <a:r>
              <a:rPr lang="en-US" b="1">
                <a:latin typeface="Arial"/>
                <a:cs typeface="Arial"/>
              </a:rPr>
              <a:t>LGBTQ+ Health Care Program at VA</a:t>
            </a:r>
            <a:endParaRPr lang="en-US"/>
          </a:p>
          <a:p>
            <a:pPr marL="556895" lvl="1" indent="-213995"/>
            <a:r>
              <a:rPr lang="en-US">
                <a:latin typeface="Arial"/>
                <a:cs typeface="Arial"/>
                <a:hlinkClick r:id="rId4"/>
              </a:rPr>
              <a:t>https://www.patientcare.va.gov/LGBT/index.asp</a:t>
            </a:r>
            <a:endParaRPr lang="en-US"/>
          </a:p>
          <a:p>
            <a:pPr marL="556895" lvl="1" indent="-213995"/>
            <a:r>
              <a:rPr lang="en-US" i="1">
                <a:latin typeface="Arial"/>
                <a:cs typeface="Arial"/>
              </a:rPr>
              <a:t>Description</a:t>
            </a:r>
            <a:r>
              <a:rPr lang="en-US">
                <a:latin typeface="Arial"/>
                <a:cs typeface="Arial"/>
              </a:rPr>
              <a:t>: Access to VA’s LGBTQ+ health care services, including policies, medical care options, and support for LGBTQ+ Veterans.</a:t>
            </a:r>
            <a:endParaRPr lang="en-US"/>
          </a:p>
          <a:p>
            <a:pPr marL="342900" lvl="1" indent="0">
              <a:buNone/>
            </a:pPr>
            <a:endParaRPr lang="en-US"/>
          </a:p>
          <a:p>
            <a:r>
              <a:rPr lang="en-US" b="1">
                <a:latin typeface="Arial"/>
                <a:cs typeface="Arial"/>
              </a:rPr>
              <a:t>LGBTQ+ Veteran Health Care Handouts</a:t>
            </a:r>
            <a:endParaRPr lang="en-US">
              <a:latin typeface="Arial"/>
              <a:cs typeface="Arial"/>
            </a:endParaRPr>
          </a:p>
          <a:p>
            <a:pPr marL="556895" lvl="1" indent="-213995"/>
            <a:r>
              <a:rPr lang="en-US">
                <a:latin typeface="Arial"/>
                <a:cs typeface="Arial"/>
                <a:hlinkClick r:id="rId5"/>
              </a:rPr>
              <a:t>https://www.patientcare.va.gov/LGBT/Resources.asp</a:t>
            </a:r>
            <a:endParaRPr lang="en-US"/>
          </a:p>
          <a:p>
            <a:pPr marL="556895" lvl="1" indent="-213995"/>
            <a:r>
              <a:rPr lang="en-US" i="1">
                <a:latin typeface="Arial"/>
                <a:cs typeface="Arial"/>
              </a:rPr>
              <a:t>Description</a:t>
            </a:r>
            <a:r>
              <a:rPr lang="en-US">
                <a:latin typeface="Arial"/>
                <a:cs typeface="Arial"/>
              </a:rPr>
              <a:t>: Printable resources and handouts related to LGBTQ+ Veteran healthcare services, such as gender-affirming care and mental health services.</a:t>
            </a:r>
            <a:endParaRPr lang="en-US"/>
          </a:p>
          <a:p>
            <a:pPr marL="342900" lvl="1" indent="0">
              <a:buNone/>
            </a:pPr>
            <a:endParaRPr lang="en-US">
              <a:latin typeface="Arial"/>
              <a:cs typeface="Arial"/>
            </a:endParaRPr>
          </a:p>
          <a:p>
            <a:r>
              <a:rPr lang="en-US" b="1">
                <a:latin typeface="Arial"/>
                <a:cs typeface="Arial"/>
              </a:rPr>
              <a:t>Discharge Upgrades for DADT Veterans (VBA)</a:t>
            </a:r>
            <a:endParaRPr lang="en-US">
              <a:latin typeface="Arial"/>
              <a:cs typeface="Arial"/>
            </a:endParaRPr>
          </a:p>
          <a:p>
            <a:pPr marL="556895" lvl="1" indent="-213995"/>
            <a:r>
              <a:rPr lang="en-US">
                <a:latin typeface="Arial"/>
                <a:cs typeface="Arial"/>
                <a:hlinkClick r:id="rId6"/>
              </a:rPr>
              <a:t>https://www.va.gov/discharge-upgrade-instructions/</a:t>
            </a:r>
            <a:endParaRPr lang="en-US"/>
          </a:p>
          <a:p>
            <a:pPr marL="556895" lvl="1" indent="-213995"/>
            <a:r>
              <a:rPr lang="en-US" i="1">
                <a:latin typeface="Arial"/>
                <a:cs typeface="Arial"/>
              </a:rPr>
              <a:t>Description</a:t>
            </a:r>
            <a:r>
              <a:rPr lang="en-US">
                <a:latin typeface="Arial"/>
                <a:cs typeface="Arial"/>
              </a:rPr>
              <a:t>: Guide from the VA Benefits Administration on how Veterans discharged under DADT or for their sexual orientation can apply for a discharge upgrade.</a:t>
            </a:r>
            <a:endParaRPr lang="en-US"/>
          </a:p>
          <a:p>
            <a:pPr marL="342900" lvl="1" indent="0">
              <a:buNone/>
            </a:pPr>
            <a:endParaRPr lang="en-US">
              <a:latin typeface="Arial"/>
              <a:cs typeface="Arial"/>
            </a:endParaRPr>
          </a:p>
          <a:p>
            <a:r>
              <a:rPr lang="en-US" b="1">
                <a:latin typeface="Arial"/>
                <a:cs typeface="Arial"/>
              </a:rPr>
              <a:t>APA Guide on Inclusive and Affirming Communication</a:t>
            </a:r>
            <a:endParaRPr lang="en-US">
              <a:latin typeface="Arial"/>
              <a:cs typeface="Arial"/>
            </a:endParaRPr>
          </a:p>
          <a:p>
            <a:pPr marL="556895" lvl="1" indent="-213995"/>
            <a:r>
              <a:rPr lang="en-US">
                <a:latin typeface="Arial"/>
                <a:cs typeface="Arial"/>
                <a:hlinkClick r:id="rId7"/>
              </a:rPr>
              <a:t>https://www.apa.org/about/apa/equity-diversity-inclusion/language-guidelines.pdf</a:t>
            </a:r>
            <a:endParaRPr lang="en-US"/>
          </a:p>
          <a:p>
            <a:pPr marL="556895" lvl="1" indent="-213995"/>
            <a:r>
              <a:rPr lang="en-US" i="1">
                <a:latin typeface="Arial"/>
                <a:cs typeface="Arial"/>
              </a:rPr>
              <a:t>Description</a:t>
            </a:r>
            <a:r>
              <a:rPr lang="en-US">
                <a:latin typeface="Arial"/>
                <a:cs typeface="Arial"/>
              </a:rPr>
              <a:t>: The American Psychological Association’s guide to inclusive and affirming language, helping professionals communicate respectfully with individuals from diverse backgrounds.</a:t>
            </a:r>
            <a:br>
              <a:rPr lang="en-US">
                <a:latin typeface="Arial"/>
                <a:cs typeface="Arial"/>
              </a:rPr>
            </a:br>
            <a:endParaRPr lang="en-US"/>
          </a:p>
          <a:p>
            <a:r>
              <a:rPr lang="en-US" b="1">
                <a:latin typeface="Arial"/>
                <a:cs typeface="Arial"/>
              </a:rPr>
              <a:t>Informational YouTube Video: </a:t>
            </a:r>
            <a:r>
              <a:rPr lang="en-US" b="1" i="1">
                <a:latin typeface="Arial"/>
                <a:cs typeface="Arial"/>
              </a:rPr>
              <a:t>Aging as LGBT: Two Stories</a:t>
            </a:r>
            <a:endParaRPr lang="en-US">
              <a:latin typeface="Arial"/>
              <a:cs typeface="Arial"/>
            </a:endParaRPr>
          </a:p>
          <a:p>
            <a:pPr marL="556895" lvl="1" indent="-213995"/>
            <a:r>
              <a:rPr lang="en-US">
                <a:latin typeface="Arial"/>
                <a:cs typeface="Arial"/>
                <a:hlinkClick r:id="rId8"/>
              </a:rPr>
              <a:t>https://www.youtube.com/watch?v=lkPJxQorieo</a:t>
            </a:r>
            <a:endParaRPr lang="en-US" b="1" i="1"/>
          </a:p>
          <a:p>
            <a:pPr marL="556895" lvl="1" indent="-213995"/>
            <a:r>
              <a:rPr lang="en-US" i="1">
                <a:latin typeface="Arial"/>
                <a:cs typeface="Arial"/>
              </a:rPr>
              <a:t>Description</a:t>
            </a:r>
            <a:r>
              <a:rPr lang="en-US">
                <a:latin typeface="Arial"/>
                <a:cs typeface="Arial"/>
              </a:rPr>
              <a:t>: A 2-minute video highlighting the unique challenges and potential psychosocial impacts faced by aging LGBTQ+ individuals, through two personal stories.</a:t>
            </a:r>
            <a:br>
              <a:rPr lang="en-US"/>
            </a:br>
            <a:endParaRPr lang="en-US"/>
          </a:p>
          <a:p>
            <a:r>
              <a:rPr lang="en-US" b="1">
                <a:latin typeface="Arial"/>
                <a:cs typeface="Arial"/>
              </a:rPr>
              <a:t>LGBTQ+ Veteran Care Coordinator (VCC) Program</a:t>
            </a:r>
            <a:endParaRPr lang="en-US">
              <a:latin typeface="Arial"/>
              <a:cs typeface="Arial"/>
            </a:endParaRPr>
          </a:p>
          <a:p>
            <a:pPr marL="556895" lvl="1" indent="-213995"/>
            <a:r>
              <a:rPr lang="en-US">
                <a:latin typeface="Arial"/>
                <a:cs typeface="Arial"/>
                <a:hlinkClick r:id="rId9"/>
              </a:rPr>
              <a:t>https://www.patientcare.va.gov/LGBT/LGBT_Veteran_Care_Coordinator.asp</a:t>
            </a:r>
            <a:endParaRPr lang="en-US">
              <a:latin typeface="Arial"/>
              <a:cs typeface="Arial"/>
            </a:endParaRPr>
          </a:p>
          <a:p>
            <a:pPr marL="556895" lvl="1" indent="-213995"/>
            <a:r>
              <a:rPr lang="en-US" i="1">
                <a:latin typeface="Arial"/>
                <a:cs typeface="Arial"/>
              </a:rPr>
              <a:t>Description</a:t>
            </a:r>
            <a:r>
              <a:rPr lang="en-US" b="1">
                <a:latin typeface="Arial"/>
                <a:cs typeface="Arial"/>
              </a:rPr>
              <a:t>:</a:t>
            </a:r>
            <a:r>
              <a:rPr lang="en-US">
                <a:latin typeface="Arial"/>
                <a:cs typeface="Arial"/>
              </a:rPr>
              <a:t> Provides details on the role of VCCs, who assist LGBTQ+ Veterans with accessing tailored healthcare services and navigating VA resources, including mental health, gender-affirming care, and support services.</a:t>
            </a:r>
            <a:endParaRPr lang="en-US"/>
          </a:p>
          <a:p>
            <a:endParaRPr lang="en-US">
              <a:latin typeface="Arial"/>
              <a:cs typeface="Arial"/>
            </a:endParaRPr>
          </a:p>
          <a:p>
            <a:endParaRPr lang="en-US"/>
          </a:p>
          <a:p>
            <a:endParaRPr lang="en-US"/>
          </a:p>
          <a:p>
            <a:endParaRPr lang="en-US" b="1"/>
          </a:p>
          <a:p>
            <a:pPr marL="0" indent="0">
              <a:buNone/>
            </a:pPr>
            <a:endParaRPr lang="en-US"/>
          </a:p>
        </p:txBody>
      </p:sp>
    </p:spTree>
    <p:extLst>
      <p:ext uri="{BB962C8B-B14F-4D97-AF65-F5344CB8AC3E}">
        <p14:creationId xmlns:p14="http://schemas.microsoft.com/office/powerpoint/2010/main" val="3526009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A35BF4C-D70A-41D3-8778-F9548165CD55}"/>
              </a:ext>
            </a:extLst>
          </p:cNvPr>
          <p:cNvSpPr>
            <a:spLocks noGrp="1"/>
          </p:cNvSpPr>
          <p:nvPr>
            <p:ph type="title"/>
          </p:nvPr>
        </p:nvSpPr>
        <p:spPr>
          <a:xfrm>
            <a:off x="330262" y="1892622"/>
            <a:ext cx="5042819" cy="2720636"/>
          </a:xfrm>
        </p:spPr>
        <p:txBody>
          <a:bodyPr vert="horz" lIns="91440" tIns="45720" rIns="91440" bIns="45720" rtlCol="0" anchor="ctr">
            <a:normAutofit/>
          </a:bodyPr>
          <a:lstStyle/>
          <a:p>
            <a:pPr>
              <a:spcBef>
                <a:spcPct val="0"/>
              </a:spcBef>
            </a:pPr>
            <a:r>
              <a:rPr lang="en-US" sz="3200" kern="1200">
                <a:solidFill>
                  <a:schemeClr val="tx1"/>
                </a:solidFill>
                <a:latin typeface="+mj-lt"/>
                <a:ea typeface="+mj-ea"/>
                <a:cs typeface="+mj-cs"/>
              </a:rPr>
              <a:t>“When I was in the military they gave me a medal for killing two men and a discharge for loving one.”</a:t>
            </a:r>
          </a:p>
        </p:txBody>
      </p:sp>
      <p:pic>
        <p:nvPicPr>
          <p:cNvPr id="10" name="Picture 9" descr="A tombstone in a cemetery&#10;&#10;Description automatically generated with low confidence">
            <a:extLst>
              <a:ext uri="{FF2B5EF4-FFF2-40B4-BE49-F238E27FC236}">
                <a16:creationId xmlns:a16="http://schemas.microsoft.com/office/drawing/2014/main" id="{596B98F9-C9FB-4F1F-A99A-F9AE1E2DC043}"/>
              </a:ext>
            </a:extLst>
          </p:cNvPr>
          <p:cNvPicPr>
            <a:picLocks noChangeAspect="1"/>
          </p:cNvPicPr>
          <p:nvPr/>
        </p:nvPicPr>
        <p:blipFill rotWithShape="1">
          <a:blip r:embed="rId3"/>
          <a:srcRect l="17699" t="17980" r="15348" b="-1"/>
          <a:stretch/>
        </p:blipFill>
        <p:spPr>
          <a:xfrm>
            <a:off x="5600148" y="846945"/>
            <a:ext cx="6273605" cy="5130109"/>
          </a:xfrm>
          <a:prstGeom prst="rect">
            <a:avLst/>
          </a:prstGeom>
        </p:spPr>
      </p:pic>
    </p:spTree>
    <p:extLst>
      <p:ext uri="{BB962C8B-B14F-4D97-AF65-F5344CB8AC3E}">
        <p14:creationId xmlns:p14="http://schemas.microsoft.com/office/powerpoint/2010/main" val="4916924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540622-5ED7-2DBA-2D4D-99C1BC6777CC}"/>
              </a:ext>
            </a:extLst>
          </p:cNvPr>
          <p:cNvSpPr>
            <a:spLocks noGrp="1"/>
          </p:cNvSpPr>
          <p:nvPr>
            <p:ph type="title"/>
          </p:nvPr>
        </p:nvSpPr>
        <p:spPr>
          <a:xfrm>
            <a:off x="609607" y="273146"/>
            <a:ext cx="5261914" cy="1162051"/>
          </a:xfrm>
        </p:spPr>
        <p:txBody>
          <a:bodyPr/>
          <a:lstStyle/>
          <a:p>
            <a:r>
              <a:rPr lang="en-US" sz="2800">
                <a:solidFill>
                  <a:schemeClr val="tx1"/>
                </a:solidFill>
                <a:latin typeface="Arial"/>
                <a:cs typeface="Arial"/>
              </a:rPr>
              <a:t>Sergeant Leonard </a:t>
            </a:r>
            <a:r>
              <a:rPr lang="en-US" sz="2800" err="1">
                <a:solidFill>
                  <a:schemeClr val="tx1"/>
                </a:solidFill>
                <a:latin typeface="Arial"/>
                <a:cs typeface="Arial"/>
              </a:rPr>
              <a:t>Matlovich</a:t>
            </a:r>
            <a:endParaRPr lang="en-US" sz="2800">
              <a:solidFill>
                <a:schemeClr val="tx1"/>
              </a:solidFill>
            </a:endParaRPr>
          </a:p>
        </p:txBody>
      </p:sp>
      <p:pic>
        <p:nvPicPr>
          <p:cNvPr id="8" name="Content Placeholder 7">
            <a:extLst>
              <a:ext uri="{FF2B5EF4-FFF2-40B4-BE49-F238E27FC236}">
                <a16:creationId xmlns:a16="http://schemas.microsoft.com/office/drawing/2014/main" id="{22D6CCC4-EE80-477C-36DA-2B8B7DBCA4CC}"/>
              </a:ext>
            </a:extLst>
          </p:cNvPr>
          <p:cNvPicPr>
            <a:picLocks noGrp="1" noChangeAspect="1"/>
          </p:cNvPicPr>
          <p:nvPr>
            <p:ph idx="1"/>
          </p:nvPr>
        </p:nvPicPr>
        <p:blipFill>
          <a:blip r:embed="rId3"/>
          <a:stretch>
            <a:fillRect/>
          </a:stretch>
        </p:blipFill>
        <p:spPr>
          <a:xfrm>
            <a:off x="6613099" y="1142216"/>
            <a:ext cx="3123188" cy="4114800"/>
          </a:xfrm>
        </p:spPr>
      </p:pic>
      <p:sp>
        <p:nvSpPr>
          <p:cNvPr id="4" name="Text Placeholder 3">
            <a:extLst>
              <a:ext uri="{FF2B5EF4-FFF2-40B4-BE49-F238E27FC236}">
                <a16:creationId xmlns:a16="http://schemas.microsoft.com/office/drawing/2014/main" id="{9ED811B3-9793-EDF1-2E82-F39F143C4992}"/>
              </a:ext>
            </a:extLst>
          </p:cNvPr>
          <p:cNvSpPr>
            <a:spLocks noGrp="1"/>
          </p:cNvSpPr>
          <p:nvPr>
            <p:ph type="body" sz="half" idx="2"/>
          </p:nvPr>
        </p:nvSpPr>
        <p:spPr/>
        <p:txBody>
          <a:bodyPr vert="horz" lIns="91440" tIns="45720" rIns="91440" bIns="45720" rtlCol="0" anchor="t">
            <a:normAutofit/>
          </a:bodyPr>
          <a:lstStyle/>
          <a:p>
            <a:pPr marL="285750" indent="-285750">
              <a:buFont typeface="Arial,Sans-Serif"/>
              <a:buChar char="•"/>
            </a:pPr>
            <a:r>
              <a:rPr lang="en-US" sz="2400">
                <a:solidFill>
                  <a:srgbClr val="000000"/>
                </a:solidFill>
                <a:latin typeface="Arial"/>
                <a:cs typeface="Arial"/>
              </a:rPr>
              <a:t>Air Force Sergeant</a:t>
            </a:r>
          </a:p>
          <a:p>
            <a:pPr marL="285750" indent="-285750">
              <a:buFont typeface="Arial,Sans-Serif"/>
              <a:buChar char="•"/>
            </a:pPr>
            <a:r>
              <a:rPr lang="en-US" sz="2400">
                <a:solidFill>
                  <a:srgbClr val="000000"/>
                </a:solidFill>
                <a:latin typeface="Arial"/>
                <a:cs typeface="Arial"/>
              </a:rPr>
              <a:t>Recipient of a Purple Heart and Bronze Star medals</a:t>
            </a:r>
          </a:p>
          <a:p>
            <a:pPr marL="285750" indent="-285750">
              <a:buFont typeface="Arial,Sans-Serif"/>
              <a:buChar char="•"/>
            </a:pPr>
            <a:r>
              <a:rPr lang="en-US" sz="2400">
                <a:solidFill>
                  <a:srgbClr val="000000"/>
                </a:solidFill>
                <a:latin typeface="Arial"/>
                <a:cs typeface="Arial"/>
              </a:rPr>
              <a:t>The first U.S. service member to purposely out himself to challenge the military's ban on LGBT people</a:t>
            </a:r>
          </a:p>
          <a:p>
            <a:pPr marL="285750" indent="-285750">
              <a:buFont typeface="Arial,Sans-Serif"/>
              <a:buChar char="•"/>
            </a:pPr>
            <a:r>
              <a:rPr lang="en-US" sz="2400">
                <a:solidFill>
                  <a:srgbClr val="000000"/>
                </a:solidFill>
                <a:latin typeface="Arial"/>
                <a:cs typeface="Arial"/>
              </a:rPr>
              <a:t>Appeared on the cover of Time in 1975</a:t>
            </a:r>
            <a:endParaRPr lang="en-US" sz="2400">
              <a:latin typeface="Arial"/>
              <a:cs typeface="Arial"/>
            </a:endParaRPr>
          </a:p>
        </p:txBody>
      </p:sp>
      <p:sp>
        <p:nvSpPr>
          <p:cNvPr id="5" name="Slide Number Placeholder 4">
            <a:extLst>
              <a:ext uri="{FF2B5EF4-FFF2-40B4-BE49-F238E27FC236}">
                <a16:creationId xmlns:a16="http://schemas.microsoft.com/office/drawing/2014/main" id="{23E732AE-75EA-AB6C-4E79-28271E788D9B}"/>
              </a:ext>
            </a:extLst>
          </p:cNvPr>
          <p:cNvSpPr>
            <a:spLocks noGrp="1"/>
          </p:cNvSpPr>
          <p:nvPr>
            <p:ph type="sldNum" sz="quarter" idx="12"/>
          </p:nvPr>
        </p:nvSpPr>
        <p:spPr/>
        <p:txBody>
          <a:bodyPr/>
          <a:lstStyle/>
          <a:p>
            <a:fld id="{D983F1FA-211D-3044-9E35-958DFBC26156}" type="slidenum">
              <a:rPr lang="en-US" smtClean="0">
                <a:solidFill>
                  <a:prstClr val="white"/>
                </a:solidFill>
              </a:rPr>
              <a:pPr/>
              <a:t>17</a:t>
            </a:fld>
            <a:endParaRPr lang="en-US">
              <a:solidFill>
                <a:prstClr val="white"/>
              </a:solidFill>
            </a:endParaRPr>
          </a:p>
        </p:txBody>
      </p:sp>
    </p:spTree>
    <p:extLst>
      <p:ext uri="{BB962C8B-B14F-4D97-AF65-F5344CB8AC3E}">
        <p14:creationId xmlns:p14="http://schemas.microsoft.com/office/powerpoint/2010/main" val="18441925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AA774F6-BBA5-4B8D-9568-7A021F5022F6}"/>
              </a:ext>
            </a:extLst>
          </p:cNvPr>
          <p:cNvSpPr>
            <a:spLocks noGrp="1"/>
          </p:cNvSpPr>
          <p:nvPr>
            <p:ph type="sldNum" sz="quarter" idx="12"/>
          </p:nvPr>
        </p:nvSpPr>
        <p:spPr/>
        <p:txBody>
          <a:bodyPr/>
          <a:lstStyle/>
          <a:p>
            <a:fld id="{D983F1FA-211D-3044-9E35-958DFBC26156}" type="slidenum">
              <a:rPr lang="en-US" smtClean="0">
                <a:solidFill>
                  <a:prstClr val="white"/>
                </a:solidFill>
              </a:rPr>
              <a:pPr/>
              <a:t>18</a:t>
            </a:fld>
            <a:endParaRPr lang="en-US">
              <a:solidFill>
                <a:prstClr val="white"/>
              </a:solidFill>
            </a:endParaRPr>
          </a:p>
        </p:txBody>
      </p:sp>
      <p:sp>
        <p:nvSpPr>
          <p:cNvPr id="4" name="Title 3">
            <a:extLst>
              <a:ext uri="{FF2B5EF4-FFF2-40B4-BE49-F238E27FC236}">
                <a16:creationId xmlns:a16="http://schemas.microsoft.com/office/drawing/2014/main" id="{555DE748-1F05-4EB8-8DBD-9024E50F613B}"/>
              </a:ext>
            </a:extLst>
          </p:cNvPr>
          <p:cNvSpPr>
            <a:spLocks noGrp="1"/>
          </p:cNvSpPr>
          <p:nvPr>
            <p:ph type="title"/>
          </p:nvPr>
        </p:nvSpPr>
        <p:spPr/>
        <p:txBody>
          <a:bodyPr>
            <a:normAutofit/>
          </a:bodyPr>
          <a:lstStyle/>
          <a:p>
            <a:r>
              <a:rPr lang="en-US" sz="3200"/>
              <a:t>Connect with CMV </a:t>
            </a:r>
          </a:p>
        </p:txBody>
      </p:sp>
      <p:pic>
        <p:nvPicPr>
          <p:cNvPr id="6" name="Picture 5" descr="Qr code&#10;&#10;Description automatically generated">
            <a:extLst>
              <a:ext uri="{FF2B5EF4-FFF2-40B4-BE49-F238E27FC236}">
                <a16:creationId xmlns:a16="http://schemas.microsoft.com/office/drawing/2014/main" id="{1C6431E5-FECD-48F2-8D46-CF71AFA006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09077" y="1196399"/>
            <a:ext cx="4465202" cy="4465202"/>
          </a:xfrm>
          <a:prstGeom prst="rect">
            <a:avLst/>
          </a:prstGeom>
        </p:spPr>
      </p:pic>
      <p:sp>
        <p:nvSpPr>
          <p:cNvPr id="7" name="Content Placeholder 1">
            <a:extLst>
              <a:ext uri="{FF2B5EF4-FFF2-40B4-BE49-F238E27FC236}">
                <a16:creationId xmlns:a16="http://schemas.microsoft.com/office/drawing/2014/main" id="{9F754D68-7C30-4A9F-AE2B-BDCBC36B3370}"/>
              </a:ext>
            </a:extLst>
          </p:cNvPr>
          <p:cNvSpPr txBox="1">
            <a:spLocks/>
          </p:cNvSpPr>
          <p:nvPr/>
        </p:nvSpPr>
        <p:spPr>
          <a:xfrm>
            <a:off x="1093195" y="4409642"/>
            <a:ext cx="9956494" cy="2289614"/>
          </a:xfrm>
          <a:prstGeom prst="rect">
            <a:avLst/>
          </a:prstGeom>
        </p:spPr>
        <p:txBody>
          <a:bodyPr vert="horz" lIns="91440" tIns="45720" rIns="91440" bIns="45720" rtlCol="0">
            <a:noAutofit/>
          </a:bodyPr>
          <a:lstStyle>
            <a:lvl1pPr marL="257175" indent="-257175" algn="l" defTabSz="342900" rtl="0" eaLnBrk="1" latinLnBrk="0" hangingPunct="1">
              <a:spcBef>
                <a:spcPct val="20000"/>
              </a:spcBef>
              <a:buFont typeface="Arial"/>
              <a:buChar char="•"/>
              <a:defRPr sz="24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557213" indent="-214313" algn="l" defTabSz="342900" rtl="0" eaLnBrk="1" latinLnBrk="0" hangingPunct="1">
              <a:spcBef>
                <a:spcPct val="20000"/>
              </a:spcBef>
              <a:buFont typeface="Arial"/>
              <a:buChar char="–"/>
              <a:defRPr sz="21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857250" indent="-171450" algn="l" defTabSz="342900" rtl="0" eaLnBrk="1" latinLnBrk="0" hangingPunct="1">
              <a:spcBef>
                <a:spcPct val="20000"/>
              </a:spcBef>
              <a:buFont typeface="Arial"/>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1200150" indent="-171450" algn="l" defTabSz="342900" rtl="0" eaLnBrk="1" latinLnBrk="0" hangingPunct="1">
              <a:spcBef>
                <a:spcPct val="20000"/>
              </a:spcBef>
              <a:buFont typeface="Arial"/>
              <a:buChar char="–"/>
              <a:defRPr sz="15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1543050" indent="-171450" algn="l" defTabSz="342900" rtl="0" eaLnBrk="1" latinLnBrk="0" hangingPunct="1">
              <a:spcBef>
                <a:spcPct val="20000"/>
              </a:spcBef>
              <a:buFont typeface="Arial"/>
              <a:buChar char="»"/>
              <a:defRPr sz="15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indent="0">
              <a:buFont typeface="Arial"/>
              <a:buNone/>
            </a:pPr>
            <a:r>
              <a:rPr lang="en-US" sz="2800">
                <a:solidFill>
                  <a:srgbClr val="0070C0"/>
                </a:solidFill>
                <a:hlinkClick r:id="rId4">
                  <a:extLst>
                    <a:ext uri="{A12FA001-AC4F-418D-AE19-62706E023703}">
                      <ahyp:hlinkClr xmlns:ahyp="http://schemas.microsoft.com/office/drawing/2018/hyperlinkcolor" val="tx"/>
                    </a:ext>
                  </a:extLst>
                </a:hlinkClick>
              </a:rPr>
              <a:t>vacocmv@va.gov</a:t>
            </a:r>
            <a:r>
              <a:rPr lang="en-US" sz="2800">
                <a:solidFill>
                  <a:srgbClr val="0070C0"/>
                </a:solidFill>
                <a:highlight>
                  <a:srgbClr val="FFFF00"/>
                </a:highlight>
              </a:rPr>
              <a:t>  </a:t>
            </a:r>
            <a:endParaRPr lang="en-US" sz="2800"/>
          </a:p>
          <a:p>
            <a:pPr marL="0" indent="0">
              <a:buFont typeface="Arial"/>
              <a:buNone/>
            </a:pPr>
            <a:r>
              <a:rPr lang="en-US" sz="2800" b="1"/>
              <a:t>(202) 461-6191</a:t>
            </a:r>
            <a:br>
              <a:rPr lang="en-US" sz="2800"/>
            </a:br>
            <a:r>
              <a:rPr lang="en-US" sz="2800">
                <a:solidFill>
                  <a:srgbClr val="0070C0"/>
                </a:solidFill>
                <a:hlinkClick r:id="rId5">
                  <a:extLst>
                    <a:ext uri="{A12FA001-AC4F-418D-AE19-62706E023703}">
                      <ahyp:hlinkClr xmlns:ahyp="http://schemas.microsoft.com/office/drawing/2018/hyperlinkcolor" val="tx"/>
                    </a:ext>
                  </a:extLst>
                </a:hlinkClick>
              </a:rPr>
              <a:t>www.va.gov/centerforminorityveterans/</a:t>
            </a:r>
            <a:r>
              <a:rPr lang="en-US" sz="2800">
                <a:solidFill>
                  <a:srgbClr val="0070C0"/>
                </a:solidFill>
              </a:rPr>
              <a:t>  </a:t>
            </a:r>
          </a:p>
        </p:txBody>
      </p:sp>
      <p:pic>
        <p:nvPicPr>
          <p:cNvPr id="12" name="Graphic 11" descr="Email outline">
            <a:extLst>
              <a:ext uri="{FF2B5EF4-FFF2-40B4-BE49-F238E27FC236}">
                <a16:creationId xmlns:a16="http://schemas.microsoft.com/office/drawing/2014/main" id="{87A94E9E-C96A-48B1-9604-9D0108C5829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1156" y="4409642"/>
            <a:ext cx="459451" cy="459451"/>
          </a:xfrm>
          <a:prstGeom prst="rect">
            <a:avLst/>
          </a:prstGeom>
        </p:spPr>
      </p:pic>
      <p:pic>
        <p:nvPicPr>
          <p:cNvPr id="16" name="Graphic 15" descr="Speaker phone outline">
            <a:extLst>
              <a:ext uri="{FF2B5EF4-FFF2-40B4-BE49-F238E27FC236}">
                <a16:creationId xmlns:a16="http://schemas.microsoft.com/office/drawing/2014/main" id="{5CAE8A8C-3289-4A62-A5C9-A2958A7147E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08568" y="4858602"/>
            <a:ext cx="570693" cy="570693"/>
          </a:xfrm>
          <a:prstGeom prst="rect">
            <a:avLst/>
          </a:prstGeom>
        </p:spPr>
      </p:pic>
      <p:pic>
        <p:nvPicPr>
          <p:cNvPr id="18" name="Graphic 17" descr="Internet outline">
            <a:extLst>
              <a:ext uri="{FF2B5EF4-FFF2-40B4-BE49-F238E27FC236}">
                <a16:creationId xmlns:a16="http://schemas.microsoft.com/office/drawing/2014/main" id="{8403F536-B04B-4353-BE5E-66C6BE37A5B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08567" y="5318053"/>
            <a:ext cx="570693" cy="570693"/>
          </a:xfrm>
          <a:prstGeom prst="rect">
            <a:avLst/>
          </a:prstGeom>
        </p:spPr>
      </p:pic>
      <p:pic>
        <p:nvPicPr>
          <p:cNvPr id="20" name="Picture 19" descr="A picture containing text&#10;&#10;Description automatically generated">
            <a:extLst>
              <a:ext uri="{FF2B5EF4-FFF2-40B4-BE49-F238E27FC236}">
                <a16:creationId xmlns:a16="http://schemas.microsoft.com/office/drawing/2014/main" id="{05CE48B5-657F-4483-82E5-1BE3146C8E06}"/>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79602" y="1104280"/>
            <a:ext cx="3810008" cy="749810"/>
          </a:xfrm>
          <a:prstGeom prst="rect">
            <a:avLst/>
          </a:prstGeom>
        </p:spPr>
      </p:pic>
      <p:sp>
        <p:nvSpPr>
          <p:cNvPr id="21" name="TextBox 20">
            <a:extLst>
              <a:ext uri="{FF2B5EF4-FFF2-40B4-BE49-F238E27FC236}">
                <a16:creationId xmlns:a16="http://schemas.microsoft.com/office/drawing/2014/main" id="{45A47ACF-FAA6-4092-82C3-AC2D6F9F83C5}"/>
              </a:ext>
            </a:extLst>
          </p:cNvPr>
          <p:cNvSpPr txBox="1"/>
          <p:nvPr/>
        </p:nvSpPr>
        <p:spPr>
          <a:xfrm>
            <a:off x="479602" y="2943003"/>
            <a:ext cx="6274283" cy="461665"/>
          </a:xfrm>
          <a:prstGeom prst="rect">
            <a:avLst/>
          </a:prstGeom>
          <a:noFill/>
        </p:spPr>
        <p:txBody>
          <a:bodyPr wrap="square" rtlCol="0">
            <a:spAutoFit/>
          </a:bodyPr>
          <a:lstStyle/>
          <a:p>
            <a:r>
              <a:rPr lang="en-US" sz="2400" b="1"/>
              <a:t>Scan our QR code to join our mailing list!</a:t>
            </a:r>
          </a:p>
        </p:txBody>
      </p:sp>
      <p:sp>
        <p:nvSpPr>
          <p:cNvPr id="28" name="Arrow: Right 27">
            <a:extLst>
              <a:ext uri="{FF2B5EF4-FFF2-40B4-BE49-F238E27FC236}">
                <a16:creationId xmlns:a16="http://schemas.microsoft.com/office/drawing/2014/main" id="{CE445A28-40DC-463E-9633-F50F0B1B5629}"/>
              </a:ext>
            </a:extLst>
          </p:cNvPr>
          <p:cNvSpPr/>
          <p:nvPr/>
        </p:nvSpPr>
        <p:spPr>
          <a:xfrm>
            <a:off x="6096000" y="3034086"/>
            <a:ext cx="1101505" cy="279498"/>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740262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79A6915-5722-158D-6977-96239402AA9F}"/>
              </a:ext>
            </a:extLst>
          </p:cNvPr>
          <p:cNvSpPr>
            <a:spLocks noGrp="1"/>
          </p:cNvSpPr>
          <p:nvPr>
            <p:ph type="sldNum" sz="quarter" idx="12"/>
          </p:nvPr>
        </p:nvSpPr>
        <p:spPr/>
        <p:txBody>
          <a:bodyPr/>
          <a:lstStyle/>
          <a:p>
            <a:fld id="{D983F1FA-211D-3044-9E35-958DFBC26156}" type="slidenum">
              <a:rPr lang="en-US" smtClean="0">
                <a:solidFill>
                  <a:prstClr val="white"/>
                </a:solidFill>
              </a:rPr>
              <a:pPr/>
              <a:t>2</a:t>
            </a:fld>
            <a:endParaRPr lang="en-US">
              <a:solidFill>
                <a:prstClr val="white"/>
              </a:solidFill>
            </a:endParaRPr>
          </a:p>
        </p:txBody>
      </p:sp>
      <p:sp>
        <p:nvSpPr>
          <p:cNvPr id="4" name="Title 3">
            <a:extLst>
              <a:ext uri="{FF2B5EF4-FFF2-40B4-BE49-F238E27FC236}">
                <a16:creationId xmlns:a16="http://schemas.microsoft.com/office/drawing/2014/main" id="{C465B68B-70BC-52C6-96AE-4AC9F03A7C4E}"/>
              </a:ext>
            </a:extLst>
          </p:cNvPr>
          <p:cNvSpPr>
            <a:spLocks noGrp="1"/>
          </p:cNvSpPr>
          <p:nvPr>
            <p:ph type="title"/>
          </p:nvPr>
        </p:nvSpPr>
        <p:spPr/>
        <p:txBody>
          <a:bodyPr/>
          <a:lstStyle/>
          <a:p>
            <a:r>
              <a:rPr lang="en-US">
                <a:latin typeface="Arial"/>
                <a:cs typeface="Arial"/>
              </a:rPr>
              <a:t>Center for Minority Veterans (CMV)</a:t>
            </a:r>
            <a:endParaRPr lang="en-US"/>
          </a:p>
        </p:txBody>
      </p:sp>
      <p:sp>
        <p:nvSpPr>
          <p:cNvPr id="6" name="Content Placeholder 5">
            <a:extLst>
              <a:ext uri="{FF2B5EF4-FFF2-40B4-BE49-F238E27FC236}">
                <a16:creationId xmlns:a16="http://schemas.microsoft.com/office/drawing/2014/main" id="{12168C8D-2F43-7598-73A2-0240E783BAF6}"/>
              </a:ext>
            </a:extLst>
          </p:cNvPr>
          <p:cNvSpPr>
            <a:spLocks noGrp="1"/>
          </p:cNvSpPr>
          <p:nvPr>
            <p:ph idx="4294967295"/>
          </p:nvPr>
        </p:nvSpPr>
        <p:spPr>
          <a:xfrm>
            <a:off x="611372" y="990600"/>
            <a:ext cx="10972800" cy="4525963"/>
          </a:xfrm>
        </p:spPr>
        <p:txBody>
          <a:bodyPr vert="horz" lIns="91440" tIns="45720" rIns="91440" bIns="45720" rtlCol="0" anchor="t">
            <a:normAutofit/>
          </a:bodyPr>
          <a:lstStyle/>
          <a:p>
            <a:r>
              <a:rPr lang="en-US" sz="1600" b="1">
                <a:latin typeface="Arial"/>
                <a:cs typeface="Arial"/>
              </a:rPr>
              <a:t>Who We Are: </a:t>
            </a:r>
            <a:r>
              <a:rPr lang="en-US" sz="1600">
                <a:latin typeface="Arial"/>
                <a:cs typeface="Arial"/>
              </a:rPr>
              <a:t>The Center for Minority Veterans (CMV) is an office within the Department of Veterans Affairs dedicated to ensuring that minority Veterans receive equitable access to VA services and benefits.</a:t>
            </a:r>
            <a:endParaRPr lang="en-US" sz="1400">
              <a:latin typeface="Arial"/>
              <a:cs typeface="Arial"/>
            </a:endParaRPr>
          </a:p>
          <a:p>
            <a:r>
              <a:rPr lang="en-US" sz="1600" b="1">
                <a:latin typeface="Arial"/>
                <a:cs typeface="Arial"/>
              </a:rPr>
              <a:t>Our Mission:</a:t>
            </a:r>
            <a:r>
              <a:rPr lang="en-US" sz="1600">
                <a:latin typeface="Arial"/>
                <a:cs typeface="Arial"/>
              </a:rPr>
              <a:t> CMV advocates on behalf of minority Veterans by promoting awareness of VA programs and addressing the unique needs of minority populations, including African American, Hispanic, Asian American, Pacific Islander, Native American, and LGBTQ+ Veterans.</a:t>
            </a:r>
          </a:p>
          <a:p>
            <a:endParaRPr lang="en-US" sz="1600"/>
          </a:p>
          <a:p>
            <a:pPr>
              <a:buNone/>
            </a:pPr>
            <a:r>
              <a:rPr lang="en-US" sz="1600">
                <a:latin typeface="Arial"/>
                <a:cs typeface="Arial"/>
              </a:rPr>
              <a:t>The </a:t>
            </a:r>
            <a:r>
              <a:rPr lang="en-US" sz="1600" b="1">
                <a:latin typeface="Arial"/>
                <a:cs typeface="Arial"/>
                <a:hlinkClick r:id="rId3"/>
              </a:rPr>
              <a:t>Center for Minority Veterans (CMV)</a:t>
            </a:r>
            <a:r>
              <a:rPr lang="en-US" sz="1600">
                <a:latin typeface="Arial"/>
                <a:cs typeface="Arial"/>
              </a:rPr>
              <a:t> was established by </a:t>
            </a:r>
            <a:r>
              <a:rPr lang="en-US" sz="1600" b="1">
                <a:latin typeface="Arial"/>
                <a:cs typeface="Arial"/>
              </a:rPr>
              <a:t>Public Law (PL) 103-446</a:t>
            </a:r>
            <a:r>
              <a:rPr lang="en-US" sz="1600">
                <a:latin typeface="Arial"/>
                <a:cs typeface="Arial"/>
              </a:rPr>
              <a:t> on November 2, 1994, in response to low utilization of VA benefits and services* by minority Veterans.</a:t>
            </a:r>
          </a:p>
          <a:p>
            <a:pPr>
              <a:buNone/>
            </a:pPr>
            <a:endParaRPr lang="en-US" sz="1600"/>
          </a:p>
          <a:p>
            <a:pPr>
              <a:buNone/>
            </a:pPr>
            <a:r>
              <a:rPr lang="en-US" sz="1600" b="1">
                <a:latin typeface="Arial"/>
                <a:cs typeface="Arial"/>
              </a:rPr>
              <a:t>PL 103-446 defines "minority group member" as a Veteran who is:</a:t>
            </a:r>
            <a:endParaRPr lang="en-US" sz="1600">
              <a:latin typeface="Arial"/>
              <a:cs typeface="Arial"/>
            </a:endParaRPr>
          </a:p>
          <a:p>
            <a:r>
              <a:rPr lang="en-US" sz="1600">
                <a:latin typeface="Arial"/>
                <a:cs typeface="Arial"/>
              </a:rPr>
              <a:t>Asian American;</a:t>
            </a:r>
          </a:p>
          <a:p>
            <a:r>
              <a:rPr lang="en-US" sz="1600">
                <a:latin typeface="Arial"/>
                <a:cs typeface="Arial"/>
              </a:rPr>
              <a:t>Black;</a:t>
            </a:r>
          </a:p>
          <a:p>
            <a:r>
              <a:rPr lang="en-US" sz="1600">
                <a:latin typeface="Arial"/>
                <a:cs typeface="Arial"/>
              </a:rPr>
              <a:t>Hispanic;</a:t>
            </a:r>
          </a:p>
          <a:p>
            <a:r>
              <a:rPr lang="en-US" sz="1600">
                <a:latin typeface="Arial"/>
                <a:cs typeface="Arial"/>
              </a:rPr>
              <a:t>Native American (including American Indian, Alaskan Native, and Native Hawaiian); or</a:t>
            </a:r>
          </a:p>
          <a:p>
            <a:r>
              <a:rPr lang="en-US" sz="1600">
                <a:latin typeface="Arial"/>
                <a:cs typeface="Arial"/>
              </a:rPr>
              <a:t>Pacific-Islander American</a:t>
            </a:r>
          </a:p>
          <a:p>
            <a:pPr marL="0" indent="0">
              <a:buNone/>
            </a:pPr>
            <a:endParaRPr lang="en-US" sz="800"/>
          </a:p>
          <a:p>
            <a:pPr algn="ctr">
              <a:buNone/>
            </a:pPr>
            <a:endParaRPr lang="en-US" sz="1400" i="1"/>
          </a:p>
          <a:p>
            <a:pPr marL="0" indent="0">
              <a:buNone/>
            </a:pPr>
            <a:endParaRPr lang="en-US" sz="1400">
              <a:latin typeface="Arial"/>
              <a:cs typeface="Arial"/>
            </a:endParaRPr>
          </a:p>
          <a:p>
            <a:endParaRPr lang="en-US" sz="1400">
              <a:latin typeface="Arial"/>
              <a:cs typeface="Arial"/>
            </a:endParaRPr>
          </a:p>
        </p:txBody>
      </p:sp>
    </p:spTree>
    <p:extLst>
      <p:ext uri="{BB962C8B-B14F-4D97-AF65-F5344CB8AC3E}">
        <p14:creationId xmlns:p14="http://schemas.microsoft.com/office/powerpoint/2010/main" val="28091860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6368AA7-883E-4C4D-9676-69CB043DC6A4}"/>
              </a:ext>
            </a:extLst>
          </p:cNvPr>
          <p:cNvSpPr>
            <a:spLocks noGrp="1"/>
          </p:cNvSpPr>
          <p:nvPr>
            <p:ph type="title"/>
          </p:nvPr>
        </p:nvSpPr>
        <p:spPr>
          <a:xfrm>
            <a:off x="0" y="-88128"/>
            <a:ext cx="12192000" cy="665018"/>
          </a:xfrm>
        </p:spPr>
        <p:txBody>
          <a:bodyPr>
            <a:normAutofit/>
          </a:bodyPr>
          <a:lstStyle/>
          <a:p>
            <a:r>
              <a:rPr lang="en-US" sz="3200">
                <a:latin typeface="Arial"/>
                <a:cs typeface="Arial"/>
              </a:rPr>
              <a:t>CMV Organizational Structure &amp; Team</a:t>
            </a:r>
          </a:p>
        </p:txBody>
      </p:sp>
      <p:sp>
        <p:nvSpPr>
          <p:cNvPr id="7" name="Rounded Rectangle 58">
            <a:extLst>
              <a:ext uri="{FF2B5EF4-FFF2-40B4-BE49-F238E27FC236}">
                <a16:creationId xmlns:a16="http://schemas.microsoft.com/office/drawing/2014/main" id="{7242315B-1976-4D3A-B260-25530DF8AE90}"/>
              </a:ext>
            </a:extLst>
          </p:cNvPr>
          <p:cNvSpPr/>
          <p:nvPr/>
        </p:nvSpPr>
        <p:spPr>
          <a:xfrm>
            <a:off x="7696200" y="3098475"/>
            <a:ext cx="2029968" cy="661620"/>
          </a:xfrm>
          <a:prstGeom prst="roundRect">
            <a:avLst/>
          </a:prstGeom>
          <a:solidFill>
            <a:schemeClr val="accent1">
              <a:lumMod val="75000"/>
            </a:schemeClr>
          </a:solidFill>
          <a:ln>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endParaRPr lang="en-US" sz="1050" b="1">
              <a:solidFill>
                <a:prstClr val="white"/>
              </a:solidFill>
              <a:latin typeface="Arial" panose="020B0604020202020204" pitchFamily="34" charset="0"/>
              <a:cs typeface="Arial" panose="020B0604020202020204" pitchFamily="34" charset="0"/>
            </a:endParaRPr>
          </a:p>
          <a:p>
            <a:pPr algn="ctr">
              <a:defRPr/>
            </a:pPr>
            <a:r>
              <a:rPr lang="en-US" sz="1050" b="1">
                <a:solidFill>
                  <a:prstClr val="white"/>
                </a:solidFill>
                <a:latin typeface="Arial" panose="020B0604020202020204" pitchFamily="34" charset="0"/>
                <a:cs typeface="Arial" panose="020B0604020202020204" pitchFamily="34" charset="0"/>
              </a:rPr>
              <a:t>VACANT</a:t>
            </a:r>
          </a:p>
          <a:p>
            <a:pPr algn="ctr">
              <a:defRPr/>
            </a:pPr>
            <a:r>
              <a:rPr lang="en-US" sz="1050" b="1">
                <a:solidFill>
                  <a:schemeClr val="bg1"/>
                </a:solidFill>
                <a:latin typeface="Arial" panose="020B0604020202020204" pitchFamily="34" charset="0"/>
                <a:cs typeface="Arial" panose="020B0604020202020204" pitchFamily="34" charset="0"/>
              </a:rPr>
              <a:t>Research and Data Liaison</a:t>
            </a:r>
          </a:p>
          <a:p>
            <a:pPr algn="ctr">
              <a:defRPr/>
            </a:pPr>
            <a:endParaRPr lang="en-US" sz="1050" b="1">
              <a:solidFill>
                <a:schemeClr val="bg1"/>
              </a:solidFill>
              <a:latin typeface="Arial" panose="020B0604020202020204" pitchFamily="34" charset="0"/>
              <a:cs typeface="Arial" panose="020B0604020202020204" pitchFamily="34" charset="0"/>
            </a:endParaRPr>
          </a:p>
        </p:txBody>
      </p:sp>
      <p:sp>
        <p:nvSpPr>
          <p:cNvPr id="8" name="Rounded Rectangle 25">
            <a:extLst>
              <a:ext uri="{FF2B5EF4-FFF2-40B4-BE49-F238E27FC236}">
                <a16:creationId xmlns:a16="http://schemas.microsoft.com/office/drawing/2014/main" id="{611F39E0-3652-4FC2-A863-7DCC0CF4AC6E}"/>
              </a:ext>
            </a:extLst>
          </p:cNvPr>
          <p:cNvSpPr/>
          <p:nvPr/>
        </p:nvSpPr>
        <p:spPr>
          <a:xfrm>
            <a:off x="4807671" y="795684"/>
            <a:ext cx="2277035" cy="598044"/>
          </a:xfrm>
          <a:prstGeom prst="roundRect">
            <a:avLst/>
          </a:prstGeom>
          <a:solidFill>
            <a:schemeClr val="tx2">
              <a:lumMod val="50000"/>
            </a:schemeClr>
          </a:solidFill>
          <a:ln>
            <a:solidFill>
              <a:schemeClr val="bg1"/>
            </a:solidFill>
          </a:ln>
        </p:spPr>
        <p:style>
          <a:lnRef idx="0">
            <a:schemeClr val="accent4"/>
          </a:lnRef>
          <a:fillRef idx="3">
            <a:schemeClr val="accent4"/>
          </a:fillRef>
          <a:effectRef idx="3">
            <a:schemeClr val="accent4"/>
          </a:effectRef>
          <a:fontRef idx="minor">
            <a:schemeClr val="lt1"/>
          </a:fontRef>
        </p:style>
        <p:txBody>
          <a:bodyPr lIns="91440" tIns="45720" rIns="91440" bIns="45720" rtlCol="0" anchor="ctr"/>
          <a:lstStyle/>
          <a:p>
            <a:pPr algn="ctr">
              <a:defRPr/>
            </a:pPr>
            <a:r>
              <a:rPr lang="en-US" sz="1400" b="1">
                <a:solidFill>
                  <a:prstClr val="white"/>
                </a:solidFill>
                <a:latin typeface="Arial"/>
                <a:cs typeface="Arial"/>
              </a:rPr>
              <a:t>James Albino</a:t>
            </a:r>
          </a:p>
          <a:p>
            <a:pPr algn="ctr">
              <a:defRPr/>
            </a:pPr>
            <a:r>
              <a:rPr lang="en-US" sz="1400" b="1">
                <a:solidFill>
                  <a:prstClr val="white"/>
                </a:solidFill>
                <a:latin typeface="Arial"/>
                <a:cs typeface="Arial"/>
              </a:rPr>
              <a:t>Executive Director</a:t>
            </a:r>
            <a:endParaRPr lang="en-US" sz="1400" b="1">
              <a:solidFill>
                <a:prstClr val="white"/>
              </a:solidFill>
              <a:latin typeface="Arial" panose="020B0604020202020204" pitchFamily="34" charset="0"/>
              <a:cs typeface="Arial" panose="020B0604020202020204" pitchFamily="34" charset="0"/>
            </a:endParaRPr>
          </a:p>
        </p:txBody>
      </p:sp>
      <p:sp>
        <p:nvSpPr>
          <p:cNvPr id="9" name="Rounded Rectangle 26">
            <a:extLst>
              <a:ext uri="{FF2B5EF4-FFF2-40B4-BE49-F238E27FC236}">
                <a16:creationId xmlns:a16="http://schemas.microsoft.com/office/drawing/2014/main" id="{B4FE0F2E-F5C0-4526-BE83-E8B19CA9F21F}"/>
              </a:ext>
            </a:extLst>
          </p:cNvPr>
          <p:cNvSpPr/>
          <p:nvPr/>
        </p:nvSpPr>
        <p:spPr>
          <a:xfrm>
            <a:off x="4791464" y="1612522"/>
            <a:ext cx="2286000" cy="577523"/>
          </a:xfrm>
          <a:prstGeom prst="roundRect">
            <a:avLst/>
          </a:prstGeom>
          <a:solidFill>
            <a:schemeClr val="tx2">
              <a:lumMod val="50000"/>
            </a:schemeClr>
          </a:solidFill>
          <a:ln>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r>
              <a:rPr lang="en-US" sz="1100" b="1">
                <a:solidFill>
                  <a:prstClr val="white"/>
                </a:solidFill>
                <a:latin typeface="Arial" panose="020B0604020202020204" pitchFamily="34" charset="0"/>
                <a:cs typeface="Arial" panose="020B0604020202020204" pitchFamily="34" charset="0"/>
              </a:rPr>
              <a:t>Debra Walker</a:t>
            </a:r>
          </a:p>
          <a:p>
            <a:pPr algn="ctr">
              <a:defRPr/>
            </a:pPr>
            <a:r>
              <a:rPr lang="en-US" sz="1050" b="1">
                <a:solidFill>
                  <a:schemeClr val="bg1"/>
                </a:solidFill>
                <a:latin typeface="Arial" panose="020B0604020202020204" pitchFamily="34" charset="0"/>
                <a:cs typeface="Arial" panose="020B0604020202020204" pitchFamily="34" charset="0"/>
              </a:rPr>
              <a:t>Deputy Director</a:t>
            </a:r>
          </a:p>
        </p:txBody>
      </p:sp>
      <p:sp>
        <p:nvSpPr>
          <p:cNvPr id="10" name="Rounded Rectangle 28">
            <a:extLst>
              <a:ext uri="{FF2B5EF4-FFF2-40B4-BE49-F238E27FC236}">
                <a16:creationId xmlns:a16="http://schemas.microsoft.com/office/drawing/2014/main" id="{B9A7D22B-F858-4A52-930E-A4ABD7F9E3C0}"/>
              </a:ext>
            </a:extLst>
          </p:cNvPr>
          <p:cNvSpPr/>
          <p:nvPr/>
        </p:nvSpPr>
        <p:spPr>
          <a:xfrm>
            <a:off x="2209800" y="3101353"/>
            <a:ext cx="2031450" cy="661620"/>
          </a:xfrm>
          <a:prstGeom prst="roundRect">
            <a:avLst/>
          </a:prstGeom>
          <a:solidFill>
            <a:schemeClr val="accent1">
              <a:lumMod val="75000"/>
            </a:schemeClr>
          </a:solidFill>
          <a:ln>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r>
              <a:rPr lang="en-US" sz="1050" b="1">
                <a:solidFill>
                  <a:prstClr val="white"/>
                </a:solidFill>
                <a:latin typeface="Arial" panose="020B0604020202020204" pitchFamily="34" charset="0"/>
                <a:cs typeface="Arial" panose="020B0604020202020204" pitchFamily="34" charset="0"/>
              </a:rPr>
              <a:t>Carmen Drummond</a:t>
            </a:r>
          </a:p>
          <a:p>
            <a:pPr algn="ctr">
              <a:defRPr/>
            </a:pPr>
            <a:r>
              <a:rPr lang="en-US" sz="1050" b="1">
                <a:solidFill>
                  <a:prstClr val="white"/>
                </a:solidFill>
                <a:latin typeface="Arial" panose="020B0604020202020204" pitchFamily="34" charset="0"/>
                <a:cs typeface="Arial" panose="020B0604020202020204" pitchFamily="34" charset="0"/>
              </a:rPr>
              <a:t>Minority Veterans Program Manager / Hispanic Veterans Liaison</a:t>
            </a:r>
          </a:p>
        </p:txBody>
      </p:sp>
      <p:sp>
        <p:nvSpPr>
          <p:cNvPr id="11" name="Rounded Rectangle 29">
            <a:extLst>
              <a:ext uri="{FF2B5EF4-FFF2-40B4-BE49-F238E27FC236}">
                <a16:creationId xmlns:a16="http://schemas.microsoft.com/office/drawing/2014/main" id="{90A5FBF5-F314-49E2-BF0F-B9A5766618D9}"/>
              </a:ext>
            </a:extLst>
          </p:cNvPr>
          <p:cNvSpPr/>
          <p:nvPr/>
        </p:nvSpPr>
        <p:spPr>
          <a:xfrm>
            <a:off x="4791464" y="4470075"/>
            <a:ext cx="2274275" cy="658368"/>
          </a:xfrm>
          <a:prstGeom prst="roundRect">
            <a:avLst/>
          </a:prstGeom>
          <a:solidFill>
            <a:schemeClr val="accent1">
              <a:lumMod val="75000"/>
            </a:schemeClr>
          </a:solidFill>
          <a:ln>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r>
              <a:rPr lang="en-US" sz="1050" b="1">
                <a:solidFill>
                  <a:prstClr val="white"/>
                </a:solidFill>
                <a:latin typeface="Arial" panose="020B0604020202020204" pitchFamily="34" charset="0"/>
                <a:cs typeface="Arial" panose="020B0604020202020204" pitchFamily="34" charset="0"/>
              </a:rPr>
              <a:t>Gregorio Kishketon</a:t>
            </a:r>
          </a:p>
          <a:p>
            <a:pPr algn="ctr">
              <a:defRPr/>
            </a:pPr>
            <a:r>
              <a:rPr lang="en-US" sz="1050" b="1">
                <a:solidFill>
                  <a:schemeClr val="bg1"/>
                </a:solidFill>
                <a:latin typeface="Arial" panose="020B0604020202020204" pitchFamily="34" charset="0"/>
                <a:cs typeface="Arial" panose="020B0604020202020204" pitchFamily="34" charset="0"/>
              </a:rPr>
              <a:t>American Indian Veterans Liaison</a:t>
            </a:r>
          </a:p>
        </p:txBody>
      </p:sp>
      <p:sp>
        <p:nvSpPr>
          <p:cNvPr id="12" name="Rounded Rectangle 30">
            <a:extLst>
              <a:ext uri="{FF2B5EF4-FFF2-40B4-BE49-F238E27FC236}">
                <a16:creationId xmlns:a16="http://schemas.microsoft.com/office/drawing/2014/main" id="{BBF5AD4A-DE34-4373-8160-4BF2CA52802E}"/>
              </a:ext>
            </a:extLst>
          </p:cNvPr>
          <p:cNvSpPr/>
          <p:nvPr/>
        </p:nvSpPr>
        <p:spPr>
          <a:xfrm>
            <a:off x="4803187" y="3101352"/>
            <a:ext cx="2274276" cy="661620"/>
          </a:xfrm>
          <a:prstGeom prst="roundRect">
            <a:avLst/>
          </a:prstGeom>
          <a:solidFill>
            <a:schemeClr val="accent1">
              <a:lumMod val="75000"/>
            </a:schemeClr>
          </a:solidFill>
          <a:ln>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r>
              <a:rPr lang="en-US" sz="1050" b="1">
                <a:solidFill>
                  <a:prstClr val="white"/>
                </a:solidFill>
                <a:latin typeface="Arial" panose="020B0604020202020204" pitchFamily="34" charset="0"/>
                <a:cs typeface="Arial" panose="020B0604020202020204" pitchFamily="34" charset="0"/>
              </a:rPr>
              <a:t>Dwayne Campbell</a:t>
            </a:r>
          </a:p>
          <a:p>
            <a:pPr algn="ctr">
              <a:defRPr/>
            </a:pPr>
            <a:r>
              <a:rPr lang="en-US" sz="1050" b="1">
                <a:solidFill>
                  <a:schemeClr val="bg1"/>
                </a:solidFill>
                <a:latin typeface="Arial" panose="020B0604020202020204" pitchFamily="34" charset="0"/>
                <a:cs typeface="Arial" panose="020B0604020202020204" pitchFamily="34" charset="0"/>
              </a:rPr>
              <a:t>African American Veterans Liaison</a:t>
            </a:r>
          </a:p>
        </p:txBody>
      </p:sp>
      <p:sp>
        <p:nvSpPr>
          <p:cNvPr id="13" name="Rounded Rectangle 6143">
            <a:extLst>
              <a:ext uri="{FF2B5EF4-FFF2-40B4-BE49-F238E27FC236}">
                <a16:creationId xmlns:a16="http://schemas.microsoft.com/office/drawing/2014/main" id="{341C81FA-B585-4F15-8976-67ADC4C7A863}"/>
              </a:ext>
            </a:extLst>
          </p:cNvPr>
          <p:cNvSpPr/>
          <p:nvPr/>
        </p:nvSpPr>
        <p:spPr>
          <a:xfrm>
            <a:off x="4803187" y="5240251"/>
            <a:ext cx="2300484" cy="830024"/>
          </a:xfrm>
          <a:prstGeom prst="roundRect">
            <a:avLst/>
          </a:prstGeom>
          <a:solidFill>
            <a:schemeClr val="accent1">
              <a:lumMod val="75000"/>
            </a:schemeClr>
          </a:solidFill>
          <a:ln>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r>
              <a:rPr lang="en-US" sz="1050" b="1">
                <a:solidFill>
                  <a:prstClr val="white"/>
                </a:solidFill>
                <a:latin typeface="Arial" panose="020B0604020202020204" pitchFamily="34" charset="0"/>
                <a:cs typeface="Arial" panose="020B0604020202020204" pitchFamily="34" charset="0"/>
              </a:rPr>
              <a:t>Ron Sagudan</a:t>
            </a:r>
          </a:p>
          <a:p>
            <a:pPr algn="ctr">
              <a:defRPr/>
            </a:pPr>
            <a:r>
              <a:rPr lang="en-US" sz="1050" b="1">
                <a:solidFill>
                  <a:schemeClr val="bg1"/>
                </a:solidFill>
                <a:latin typeface="Arial" panose="020B0604020202020204" pitchFamily="34" charset="0"/>
                <a:cs typeface="Arial" panose="020B0604020202020204" pitchFamily="34" charset="0"/>
              </a:rPr>
              <a:t>Native Hawaiian, Asian American, Pacific Islander Veterans Liaison</a:t>
            </a:r>
          </a:p>
        </p:txBody>
      </p:sp>
      <p:sp>
        <p:nvSpPr>
          <p:cNvPr id="14" name="Rounded Rectangle 6174">
            <a:extLst>
              <a:ext uri="{FF2B5EF4-FFF2-40B4-BE49-F238E27FC236}">
                <a16:creationId xmlns:a16="http://schemas.microsoft.com/office/drawing/2014/main" id="{4B563718-F5C1-426F-904C-E83F7CA64370}"/>
              </a:ext>
            </a:extLst>
          </p:cNvPr>
          <p:cNvSpPr/>
          <p:nvPr/>
        </p:nvSpPr>
        <p:spPr>
          <a:xfrm>
            <a:off x="7787516" y="1316874"/>
            <a:ext cx="1819831" cy="457200"/>
          </a:xfrm>
          <a:prstGeom prst="roundRect">
            <a:avLst/>
          </a:prstGeom>
          <a:solidFill>
            <a:schemeClr val="accent1">
              <a:lumMod val="75000"/>
            </a:schemeClr>
          </a:solidFill>
          <a:ln>
            <a:solidFill>
              <a:schemeClr val="accent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r>
              <a:rPr lang="en-US" sz="1100" b="1">
                <a:solidFill>
                  <a:prstClr val="white"/>
                </a:solidFill>
                <a:latin typeface="Arial" panose="020B0604020202020204" pitchFamily="34" charset="0"/>
                <a:cs typeface="Arial" panose="020B0604020202020204" pitchFamily="34" charset="0"/>
              </a:rPr>
              <a:t>Carl McPherson</a:t>
            </a:r>
          </a:p>
          <a:p>
            <a:pPr algn="ctr">
              <a:defRPr/>
            </a:pPr>
            <a:r>
              <a:rPr lang="en-US" sz="1050" b="1">
                <a:solidFill>
                  <a:schemeClr val="bg1"/>
                </a:solidFill>
                <a:latin typeface="Arial" panose="020B0604020202020204" pitchFamily="34" charset="0"/>
                <a:cs typeface="Arial" panose="020B0604020202020204" pitchFamily="34" charset="0"/>
              </a:rPr>
              <a:t>Staff Assistant</a:t>
            </a:r>
          </a:p>
        </p:txBody>
      </p:sp>
      <p:cxnSp>
        <p:nvCxnSpPr>
          <p:cNvPr id="15" name="Elbow Connector 1028">
            <a:extLst>
              <a:ext uri="{FF2B5EF4-FFF2-40B4-BE49-F238E27FC236}">
                <a16:creationId xmlns:a16="http://schemas.microsoft.com/office/drawing/2014/main" id="{43304E76-B85E-42E9-8673-DC2C22C14723}"/>
              </a:ext>
            </a:extLst>
          </p:cNvPr>
          <p:cNvCxnSpPr>
            <a:cxnSpLocks/>
            <a:endCxn id="14" idx="1"/>
          </p:cNvCxnSpPr>
          <p:nvPr/>
        </p:nvCxnSpPr>
        <p:spPr>
          <a:xfrm flipV="1">
            <a:off x="7077464" y="1545474"/>
            <a:ext cx="710052" cy="380346"/>
          </a:xfrm>
          <a:prstGeom prst="bentConnector3">
            <a:avLst/>
          </a:prstGeom>
          <a:ln>
            <a:solidFill>
              <a:schemeClr val="bg1">
                <a:lumMod val="50000"/>
              </a:schemeClr>
            </a:solidFill>
            <a:tailEnd type="arrow"/>
          </a:ln>
        </p:spPr>
        <p:style>
          <a:lnRef idx="2">
            <a:schemeClr val="accent5"/>
          </a:lnRef>
          <a:fillRef idx="0">
            <a:schemeClr val="accent5"/>
          </a:fillRef>
          <a:effectRef idx="1">
            <a:schemeClr val="accent5"/>
          </a:effectRef>
          <a:fontRef idx="minor">
            <a:schemeClr val="tx1"/>
          </a:fontRef>
        </p:style>
      </p:cxnSp>
      <p:cxnSp>
        <p:nvCxnSpPr>
          <p:cNvPr id="16" name="Straight Arrow Connector 15">
            <a:extLst>
              <a:ext uri="{FF2B5EF4-FFF2-40B4-BE49-F238E27FC236}">
                <a16:creationId xmlns:a16="http://schemas.microsoft.com/office/drawing/2014/main" id="{2D801D3E-D27B-491F-8C04-3DD4210ACEB9}"/>
              </a:ext>
            </a:extLst>
          </p:cNvPr>
          <p:cNvCxnSpPr>
            <a:cxnSpLocks/>
            <a:stCxn id="8" idx="2"/>
            <a:endCxn id="9" idx="0"/>
          </p:cNvCxnSpPr>
          <p:nvPr/>
        </p:nvCxnSpPr>
        <p:spPr>
          <a:xfrm flipH="1">
            <a:off x="5934464" y="1393728"/>
            <a:ext cx="11725" cy="218794"/>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sp>
        <p:nvSpPr>
          <p:cNvPr id="17" name="Rounded Rectangle 58">
            <a:extLst>
              <a:ext uri="{FF2B5EF4-FFF2-40B4-BE49-F238E27FC236}">
                <a16:creationId xmlns:a16="http://schemas.microsoft.com/office/drawing/2014/main" id="{A204663D-5209-4ECE-AFB8-414DF1CF6BA2}"/>
              </a:ext>
            </a:extLst>
          </p:cNvPr>
          <p:cNvSpPr/>
          <p:nvPr/>
        </p:nvSpPr>
        <p:spPr>
          <a:xfrm>
            <a:off x="4803187" y="3860475"/>
            <a:ext cx="2274275" cy="475488"/>
          </a:xfrm>
          <a:prstGeom prst="roundRect">
            <a:avLst/>
          </a:prstGeom>
          <a:solidFill>
            <a:schemeClr val="accent1">
              <a:lumMod val="75000"/>
            </a:schemeClr>
          </a:solidFill>
          <a:ln>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endParaRPr lang="en-US" sz="1050" b="1">
              <a:solidFill>
                <a:prstClr val="white"/>
              </a:solidFill>
              <a:latin typeface="Arial" panose="020B0604020202020204" pitchFamily="34" charset="0"/>
              <a:cs typeface="Arial" panose="020B0604020202020204" pitchFamily="34" charset="0"/>
            </a:endParaRPr>
          </a:p>
          <a:p>
            <a:pPr algn="ctr">
              <a:defRPr/>
            </a:pPr>
            <a:r>
              <a:rPr lang="en-US" sz="1050" b="1">
                <a:solidFill>
                  <a:prstClr val="white"/>
                </a:solidFill>
                <a:latin typeface="Arial" panose="020B0604020202020204" pitchFamily="34" charset="0"/>
                <a:cs typeface="Arial" panose="020B0604020202020204" pitchFamily="34" charset="0"/>
              </a:rPr>
              <a:t>D’Andrea Jacobs</a:t>
            </a:r>
          </a:p>
          <a:p>
            <a:pPr algn="ctr">
              <a:defRPr/>
            </a:pPr>
            <a:r>
              <a:rPr lang="en-US" sz="1050" b="1">
                <a:solidFill>
                  <a:schemeClr val="bg1"/>
                </a:solidFill>
                <a:latin typeface="Arial" panose="020B0604020202020204" pitchFamily="34" charset="0"/>
                <a:cs typeface="Arial" panose="020B0604020202020204" pitchFamily="34" charset="0"/>
              </a:rPr>
              <a:t>Hispanic Veterans Liaison</a:t>
            </a:r>
          </a:p>
          <a:p>
            <a:pPr algn="ctr">
              <a:defRPr/>
            </a:pPr>
            <a:endParaRPr lang="en-US" sz="1050" b="1">
              <a:solidFill>
                <a:prstClr val="white"/>
              </a:solidFill>
              <a:latin typeface="Arial" panose="020B0604020202020204" pitchFamily="34" charset="0"/>
              <a:cs typeface="Arial" panose="020B0604020202020204" pitchFamily="34" charset="0"/>
            </a:endParaRPr>
          </a:p>
        </p:txBody>
      </p:sp>
      <p:sp>
        <p:nvSpPr>
          <p:cNvPr id="18" name="Rounded Rectangle 28">
            <a:extLst>
              <a:ext uri="{FF2B5EF4-FFF2-40B4-BE49-F238E27FC236}">
                <a16:creationId xmlns:a16="http://schemas.microsoft.com/office/drawing/2014/main" id="{FDB98F3E-955A-47F4-8374-F8741BAF8EA5}"/>
              </a:ext>
            </a:extLst>
          </p:cNvPr>
          <p:cNvSpPr/>
          <p:nvPr/>
        </p:nvSpPr>
        <p:spPr>
          <a:xfrm>
            <a:off x="2209800" y="2320359"/>
            <a:ext cx="2031450" cy="645835"/>
          </a:xfrm>
          <a:prstGeom prst="roundRect">
            <a:avLst/>
          </a:prstGeom>
          <a:solidFill>
            <a:schemeClr val="tx2">
              <a:lumMod val="75000"/>
            </a:schemeClr>
          </a:solidFill>
          <a:ln>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r>
              <a:rPr lang="en-US" sz="1050" b="1">
                <a:solidFill>
                  <a:prstClr val="white"/>
                </a:solidFill>
                <a:latin typeface="Arial" panose="020B0604020202020204" pitchFamily="34" charset="0"/>
                <a:cs typeface="Arial" panose="020B0604020202020204" pitchFamily="34" charset="0"/>
              </a:rPr>
              <a:t> </a:t>
            </a:r>
          </a:p>
          <a:p>
            <a:pPr algn="ctr">
              <a:defRPr/>
            </a:pPr>
            <a:r>
              <a:rPr lang="en-US" sz="1050" b="1">
                <a:solidFill>
                  <a:prstClr val="white"/>
                </a:solidFill>
                <a:latin typeface="Arial" panose="020B0604020202020204" pitchFamily="34" charset="0"/>
                <a:cs typeface="Arial" panose="020B0604020202020204" pitchFamily="34" charset="0"/>
              </a:rPr>
              <a:t>Minority Veterans  Program </a:t>
            </a:r>
          </a:p>
          <a:p>
            <a:pPr algn="ctr">
              <a:defRPr/>
            </a:pPr>
            <a:endParaRPr lang="en-US" sz="1050" b="1">
              <a:solidFill>
                <a:prstClr val="white"/>
              </a:solidFill>
              <a:latin typeface="Arial" panose="020B0604020202020204" pitchFamily="34" charset="0"/>
              <a:cs typeface="Arial" panose="020B0604020202020204" pitchFamily="34" charset="0"/>
            </a:endParaRPr>
          </a:p>
          <a:p>
            <a:pPr algn="ctr">
              <a:defRPr/>
            </a:pPr>
            <a:endParaRPr lang="en-US" sz="1050" b="1">
              <a:solidFill>
                <a:prstClr val="white"/>
              </a:solidFill>
              <a:latin typeface="Arial" panose="020B0604020202020204" pitchFamily="34" charset="0"/>
              <a:cs typeface="Arial" panose="020B0604020202020204" pitchFamily="34" charset="0"/>
            </a:endParaRPr>
          </a:p>
        </p:txBody>
      </p:sp>
      <p:sp>
        <p:nvSpPr>
          <p:cNvPr id="19" name="Rounded Rectangle 28">
            <a:extLst>
              <a:ext uri="{FF2B5EF4-FFF2-40B4-BE49-F238E27FC236}">
                <a16:creationId xmlns:a16="http://schemas.microsoft.com/office/drawing/2014/main" id="{E62EE82E-88E9-4F4B-9B65-3A8D0C5A4F4D}"/>
              </a:ext>
            </a:extLst>
          </p:cNvPr>
          <p:cNvSpPr/>
          <p:nvPr/>
        </p:nvSpPr>
        <p:spPr>
          <a:xfrm>
            <a:off x="4784222" y="2300240"/>
            <a:ext cx="2293242" cy="645835"/>
          </a:xfrm>
          <a:prstGeom prst="roundRect">
            <a:avLst/>
          </a:prstGeom>
          <a:solidFill>
            <a:schemeClr val="tx2">
              <a:lumMod val="75000"/>
            </a:schemeClr>
          </a:solidFill>
          <a:ln>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r>
              <a:rPr lang="en-US" sz="1050" b="1">
                <a:solidFill>
                  <a:prstClr val="white"/>
                </a:solidFill>
                <a:latin typeface="Arial" panose="020B0604020202020204" pitchFamily="34" charset="0"/>
                <a:cs typeface="Arial" panose="020B0604020202020204" pitchFamily="34" charset="0"/>
              </a:rPr>
              <a:t> </a:t>
            </a:r>
          </a:p>
          <a:p>
            <a:pPr algn="ctr">
              <a:defRPr/>
            </a:pPr>
            <a:r>
              <a:rPr lang="en-US" sz="1050" b="1">
                <a:solidFill>
                  <a:prstClr val="white"/>
                </a:solidFill>
                <a:latin typeface="Arial" panose="020B0604020202020204" pitchFamily="34" charset="0"/>
                <a:cs typeface="Arial" panose="020B0604020202020204" pitchFamily="34" charset="0"/>
              </a:rPr>
              <a:t>Advocacy/Engagement/ Outreach</a:t>
            </a:r>
          </a:p>
          <a:p>
            <a:pPr algn="ctr">
              <a:defRPr/>
            </a:pPr>
            <a:endParaRPr lang="en-US" sz="1050" b="1">
              <a:solidFill>
                <a:prstClr val="white"/>
              </a:solidFill>
              <a:latin typeface="Arial" panose="020B0604020202020204" pitchFamily="34" charset="0"/>
              <a:cs typeface="Arial" panose="020B0604020202020204" pitchFamily="34" charset="0"/>
            </a:endParaRPr>
          </a:p>
          <a:p>
            <a:pPr algn="ctr">
              <a:defRPr/>
            </a:pPr>
            <a:endParaRPr lang="en-US" sz="1050" b="1">
              <a:solidFill>
                <a:prstClr val="white"/>
              </a:solidFill>
              <a:latin typeface="Arial" panose="020B0604020202020204" pitchFamily="34" charset="0"/>
              <a:cs typeface="Arial" panose="020B0604020202020204" pitchFamily="34" charset="0"/>
            </a:endParaRPr>
          </a:p>
        </p:txBody>
      </p:sp>
      <p:sp>
        <p:nvSpPr>
          <p:cNvPr id="20" name="Rounded Rectangle 28">
            <a:extLst>
              <a:ext uri="{FF2B5EF4-FFF2-40B4-BE49-F238E27FC236}">
                <a16:creationId xmlns:a16="http://schemas.microsoft.com/office/drawing/2014/main" id="{C55B33A5-D51B-4AB3-8373-E2B0B537F02F}"/>
              </a:ext>
            </a:extLst>
          </p:cNvPr>
          <p:cNvSpPr/>
          <p:nvPr/>
        </p:nvSpPr>
        <p:spPr>
          <a:xfrm>
            <a:off x="7681807" y="2320359"/>
            <a:ext cx="2031450" cy="645835"/>
          </a:xfrm>
          <a:prstGeom prst="roundRect">
            <a:avLst/>
          </a:prstGeom>
          <a:solidFill>
            <a:schemeClr val="tx2">
              <a:lumMod val="75000"/>
            </a:schemeClr>
          </a:solidFill>
          <a:ln>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r>
              <a:rPr lang="en-US" sz="1050" b="1">
                <a:solidFill>
                  <a:prstClr val="white"/>
                </a:solidFill>
                <a:latin typeface="Arial" panose="020B0604020202020204" pitchFamily="34" charset="0"/>
                <a:cs typeface="Arial" panose="020B0604020202020204" pitchFamily="34" charset="0"/>
              </a:rPr>
              <a:t> </a:t>
            </a:r>
          </a:p>
          <a:p>
            <a:pPr algn="ctr">
              <a:defRPr/>
            </a:pPr>
            <a:r>
              <a:rPr lang="en-US" sz="1050" b="1">
                <a:solidFill>
                  <a:prstClr val="white"/>
                </a:solidFill>
                <a:latin typeface="Arial" panose="020B0604020202020204" pitchFamily="34" charset="0"/>
                <a:cs typeface="Arial" panose="020B0604020202020204" pitchFamily="34" charset="0"/>
              </a:rPr>
              <a:t>Research and </a:t>
            </a:r>
            <a:r>
              <a:rPr lang="en-US" sz="1050" b="1">
                <a:solidFill>
                  <a:schemeClr val="bg1"/>
                </a:solidFill>
                <a:latin typeface="Arial" panose="020B0604020202020204" pitchFamily="34" charset="0"/>
                <a:cs typeface="Arial" panose="020B0604020202020204" pitchFamily="34" charset="0"/>
              </a:rPr>
              <a:t>Data</a:t>
            </a:r>
            <a:r>
              <a:rPr lang="en-US" sz="1050" b="1">
                <a:solidFill>
                  <a:prstClr val="white"/>
                </a:solidFill>
                <a:latin typeface="Arial" panose="020B0604020202020204" pitchFamily="34" charset="0"/>
                <a:cs typeface="Arial" panose="020B0604020202020204" pitchFamily="34" charset="0"/>
              </a:rPr>
              <a:t> </a:t>
            </a:r>
          </a:p>
          <a:p>
            <a:pPr algn="ctr">
              <a:defRPr/>
            </a:pPr>
            <a:endParaRPr lang="en-US" sz="1050" b="1">
              <a:solidFill>
                <a:prstClr val="white"/>
              </a:solidFill>
              <a:latin typeface="Arial" panose="020B0604020202020204" pitchFamily="34" charset="0"/>
              <a:cs typeface="Arial" panose="020B0604020202020204" pitchFamily="34" charset="0"/>
            </a:endParaRPr>
          </a:p>
          <a:p>
            <a:pPr algn="ctr">
              <a:defRPr/>
            </a:pPr>
            <a:endParaRPr lang="en-US" sz="1050" b="1">
              <a:solidFill>
                <a:prstClr val="white"/>
              </a:solidFill>
              <a:latin typeface="Arial" panose="020B0604020202020204" pitchFamily="34" charset="0"/>
              <a:cs typeface="Arial" panose="020B0604020202020204" pitchFamily="34" charset="0"/>
            </a:endParaRPr>
          </a:p>
        </p:txBody>
      </p:sp>
      <p:cxnSp>
        <p:nvCxnSpPr>
          <p:cNvPr id="21" name="Elbow Connector 1024">
            <a:extLst>
              <a:ext uri="{FF2B5EF4-FFF2-40B4-BE49-F238E27FC236}">
                <a16:creationId xmlns:a16="http://schemas.microsoft.com/office/drawing/2014/main" id="{091B526A-959E-4EFE-8A15-C93497D15A48}"/>
              </a:ext>
            </a:extLst>
          </p:cNvPr>
          <p:cNvCxnSpPr>
            <a:cxnSpLocks/>
          </p:cNvCxnSpPr>
          <p:nvPr/>
        </p:nvCxnSpPr>
        <p:spPr>
          <a:xfrm>
            <a:off x="7086600" y="1117275"/>
            <a:ext cx="702810" cy="450768"/>
          </a:xfrm>
          <a:prstGeom prst="bentConnector3">
            <a:avLst/>
          </a:prstGeom>
          <a:ln>
            <a:solidFill>
              <a:schemeClr val="bg1">
                <a:lumMod val="50000"/>
              </a:schemeClr>
            </a:solidFill>
            <a:tailEnd type="arrow"/>
          </a:ln>
        </p:spPr>
        <p:style>
          <a:lnRef idx="2">
            <a:schemeClr val="accent5"/>
          </a:lnRef>
          <a:fillRef idx="0">
            <a:schemeClr val="accent5"/>
          </a:fillRef>
          <a:effectRef idx="1">
            <a:schemeClr val="accent5"/>
          </a:effectRef>
          <a:fontRef idx="minor">
            <a:schemeClr val="tx1"/>
          </a:fontRef>
        </p:style>
      </p:cxnSp>
      <p:sp>
        <p:nvSpPr>
          <p:cNvPr id="24" name="Slide Number Placeholder 2">
            <a:extLst>
              <a:ext uri="{FF2B5EF4-FFF2-40B4-BE49-F238E27FC236}">
                <a16:creationId xmlns:a16="http://schemas.microsoft.com/office/drawing/2014/main" id="{395B4879-14FC-40CD-B421-CE996A751A36}"/>
              </a:ext>
            </a:extLst>
          </p:cNvPr>
          <p:cNvSpPr txBox="1">
            <a:spLocks/>
          </p:cNvSpPr>
          <p:nvPr/>
        </p:nvSpPr>
        <p:spPr>
          <a:xfrm>
            <a:off x="9250441" y="6400237"/>
            <a:ext cx="2844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D983F1FA-211D-3044-9E35-958DFBC26156}" type="slidenum">
              <a:rPr lang="en-US" sz="900" smtClean="0">
                <a:solidFill>
                  <a:prstClr val="white"/>
                </a:solidFill>
                <a:latin typeface="Arial" panose="020B0604020202020204" pitchFamily="34" charset="0"/>
                <a:cs typeface="Arial" panose="020B0604020202020204" pitchFamily="34" charset="0"/>
              </a:rPr>
              <a:pPr algn="r"/>
              <a:t>3</a:t>
            </a:fld>
            <a:endParaRPr lang="en-US" sz="900">
              <a:solidFill>
                <a:prstClr val="white"/>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702137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65B68B-70BC-52C6-96AE-4AC9F03A7C4E}"/>
              </a:ext>
            </a:extLst>
          </p:cNvPr>
          <p:cNvSpPr>
            <a:spLocks noGrp="1"/>
          </p:cNvSpPr>
          <p:nvPr>
            <p:ph type="title"/>
          </p:nvPr>
        </p:nvSpPr>
        <p:spPr>
          <a:xfrm>
            <a:off x="609606" y="121867"/>
            <a:ext cx="10972787" cy="609960"/>
          </a:xfrm>
        </p:spPr>
        <p:txBody>
          <a:bodyPr>
            <a:noAutofit/>
          </a:bodyPr>
          <a:lstStyle/>
          <a:p>
            <a:pPr algn="ctr"/>
            <a:r>
              <a:rPr lang="en-US" sz="3600" b="0">
                <a:latin typeface="Arial"/>
                <a:cs typeface="Arial"/>
              </a:rPr>
              <a:t>VA's Reach: Monthly Benefits</a:t>
            </a:r>
            <a:endParaRPr lang="en-US" sz="3600" b="0"/>
          </a:p>
        </p:txBody>
      </p:sp>
      <p:pic>
        <p:nvPicPr>
          <p:cNvPr id="5" name="Content Placeholder 4" descr="Person in military uniform in wheelchair">
            <a:extLst>
              <a:ext uri="{FF2B5EF4-FFF2-40B4-BE49-F238E27FC236}">
                <a16:creationId xmlns:a16="http://schemas.microsoft.com/office/drawing/2014/main" id="{A2CB14E9-1A99-DA5B-74D8-6CE458C62BB3}"/>
              </a:ext>
            </a:extLst>
          </p:cNvPr>
          <p:cNvPicPr>
            <a:picLocks noGrp="1" noChangeAspect="1"/>
          </p:cNvPicPr>
          <p:nvPr>
            <p:ph idx="1"/>
          </p:nvPr>
        </p:nvPicPr>
        <p:blipFill>
          <a:blip r:embed="rId3"/>
          <a:stretch>
            <a:fillRect/>
          </a:stretch>
        </p:blipFill>
        <p:spPr>
          <a:xfrm>
            <a:off x="5228999" y="1435110"/>
            <a:ext cx="6611937" cy="4413123"/>
          </a:xfrm>
        </p:spPr>
      </p:pic>
      <p:sp>
        <p:nvSpPr>
          <p:cNvPr id="2" name="Text Placeholder 1">
            <a:extLst>
              <a:ext uri="{FF2B5EF4-FFF2-40B4-BE49-F238E27FC236}">
                <a16:creationId xmlns:a16="http://schemas.microsoft.com/office/drawing/2014/main" id="{4F7B3EA3-38D3-9776-EA38-55B5597E74F3}"/>
              </a:ext>
            </a:extLst>
          </p:cNvPr>
          <p:cNvSpPr>
            <a:spLocks noGrp="1"/>
          </p:cNvSpPr>
          <p:nvPr>
            <p:ph type="body" sz="half" idx="2"/>
          </p:nvPr>
        </p:nvSpPr>
        <p:spPr>
          <a:xfrm>
            <a:off x="609606" y="1435110"/>
            <a:ext cx="4389905" cy="4691063"/>
          </a:xfrm>
        </p:spPr>
        <p:txBody>
          <a:bodyPr vert="horz" lIns="91440" tIns="45720" rIns="91440" bIns="45720" rtlCol="0" anchor="t">
            <a:normAutofit/>
          </a:bodyPr>
          <a:lstStyle/>
          <a:p>
            <a:pPr marL="257175" indent="-257175"/>
            <a:r>
              <a:rPr lang="en-US" sz="2400">
                <a:latin typeface="Arial"/>
                <a:cs typeface="Arial"/>
              </a:rPr>
              <a:t>PACT Act Claims – 1.5 million</a:t>
            </a:r>
          </a:p>
          <a:p>
            <a:pPr marL="257175" indent="-257175"/>
            <a:endParaRPr lang="en-US" sz="2000"/>
          </a:p>
          <a:p>
            <a:pPr marL="257175" indent="-257175"/>
            <a:r>
              <a:rPr lang="en-US" sz="2400" b="1">
                <a:latin typeface="Arial"/>
                <a:cs typeface="Arial"/>
              </a:rPr>
              <a:t>Monthly VA Benefits:</a:t>
            </a:r>
            <a:endParaRPr lang="en-US" sz="2400">
              <a:latin typeface="Arial"/>
              <a:cs typeface="Arial"/>
            </a:endParaRPr>
          </a:p>
          <a:p>
            <a:pPr marL="285750" indent="-285750">
              <a:buChar char="•"/>
            </a:pPr>
            <a:r>
              <a:rPr lang="en-US" sz="2000">
                <a:latin typeface="Arial"/>
                <a:cs typeface="Arial"/>
              </a:rPr>
              <a:t>Disability Compensation: 5,993,022</a:t>
            </a:r>
          </a:p>
          <a:p>
            <a:pPr marL="285750" indent="-285750">
              <a:buChar char="•"/>
            </a:pPr>
            <a:r>
              <a:rPr lang="en-US" sz="2000">
                <a:latin typeface="Arial"/>
                <a:cs typeface="Arial"/>
              </a:rPr>
              <a:t>GI Bill: 862,750</a:t>
            </a:r>
          </a:p>
          <a:p>
            <a:pPr marL="285750" indent="-285750">
              <a:buChar char="•"/>
            </a:pPr>
            <a:r>
              <a:rPr lang="en-US" sz="2000">
                <a:latin typeface="Arial"/>
                <a:cs typeface="Arial"/>
              </a:rPr>
              <a:t>Line of Duty Survivors: 517,389</a:t>
            </a:r>
          </a:p>
          <a:p>
            <a:pPr marL="285750" indent="-285750">
              <a:buChar char="•"/>
            </a:pPr>
            <a:r>
              <a:rPr lang="en-US" sz="2000">
                <a:latin typeface="Arial"/>
                <a:cs typeface="Arial"/>
              </a:rPr>
              <a:t>Pensioners: 235,977</a:t>
            </a:r>
          </a:p>
          <a:p>
            <a:endParaRPr lang="en-US" sz="1400"/>
          </a:p>
          <a:p>
            <a:endParaRPr lang="en-US" sz="1400"/>
          </a:p>
          <a:p>
            <a:endParaRPr lang="en-US" sz="1400"/>
          </a:p>
          <a:p>
            <a:endParaRPr lang="en-US" sz="1400"/>
          </a:p>
          <a:p>
            <a:pPr marL="285750" indent="-285750">
              <a:buChar char="•"/>
            </a:pPr>
            <a:endParaRPr lang="en-US" sz="1400"/>
          </a:p>
          <a:p>
            <a:endParaRPr lang="en-US"/>
          </a:p>
        </p:txBody>
      </p:sp>
      <p:sp>
        <p:nvSpPr>
          <p:cNvPr id="3" name="Slide Number Placeholder 2">
            <a:extLst>
              <a:ext uri="{FF2B5EF4-FFF2-40B4-BE49-F238E27FC236}">
                <a16:creationId xmlns:a16="http://schemas.microsoft.com/office/drawing/2014/main" id="{579A6915-5722-158D-6977-96239402AA9F}"/>
              </a:ext>
            </a:extLst>
          </p:cNvPr>
          <p:cNvSpPr>
            <a:spLocks noGrp="1"/>
          </p:cNvSpPr>
          <p:nvPr>
            <p:ph type="sldNum" sz="quarter" idx="12"/>
          </p:nvPr>
        </p:nvSpPr>
        <p:spPr/>
        <p:txBody>
          <a:bodyPr/>
          <a:lstStyle/>
          <a:p>
            <a:fld id="{D983F1FA-211D-3044-9E35-958DFBC26156}" type="slidenum">
              <a:rPr lang="en-US" smtClean="0">
                <a:solidFill>
                  <a:prstClr val="white"/>
                </a:solidFill>
              </a:rPr>
              <a:pPr/>
              <a:t>4</a:t>
            </a:fld>
            <a:endParaRPr lang="en-US">
              <a:solidFill>
                <a:prstClr val="white"/>
              </a:solidFill>
            </a:endParaRPr>
          </a:p>
        </p:txBody>
      </p:sp>
    </p:spTree>
    <p:extLst>
      <p:ext uri="{BB962C8B-B14F-4D97-AF65-F5344CB8AC3E}">
        <p14:creationId xmlns:p14="http://schemas.microsoft.com/office/powerpoint/2010/main" val="3970323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65B68B-70BC-52C6-96AE-4AC9F03A7C4E}"/>
              </a:ext>
            </a:extLst>
          </p:cNvPr>
          <p:cNvSpPr>
            <a:spLocks noGrp="1"/>
          </p:cNvSpPr>
          <p:nvPr>
            <p:ph type="title"/>
          </p:nvPr>
        </p:nvSpPr>
        <p:spPr/>
        <p:txBody>
          <a:bodyPr>
            <a:normAutofit/>
          </a:bodyPr>
          <a:lstStyle/>
          <a:p>
            <a:r>
              <a:rPr lang="en-US" b="0">
                <a:latin typeface="Arial"/>
                <a:cs typeface="Arial"/>
              </a:rPr>
              <a:t>VA's Reach: Monthly Benefits</a:t>
            </a:r>
            <a:endParaRPr lang="en-US" b="0"/>
          </a:p>
        </p:txBody>
      </p:sp>
      <p:pic>
        <p:nvPicPr>
          <p:cNvPr id="5" name="Content Placeholder 4">
            <a:extLst>
              <a:ext uri="{FF2B5EF4-FFF2-40B4-BE49-F238E27FC236}">
                <a16:creationId xmlns:a16="http://schemas.microsoft.com/office/drawing/2014/main" id="{A2CB14E9-1A99-DA5B-74D8-6CE458C62BB3}"/>
              </a:ext>
            </a:extLst>
          </p:cNvPr>
          <p:cNvPicPr>
            <a:picLocks noGrp="1" noChangeAspect="1"/>
          </p:cNvPicPr>
          <p:nvPr>
            <p:ph idx="1"/>
          </p:nvPr>
        </p:nvPicPr>
        <p:blipFill>
          <a:blip r:embed="rId3">
            <a:extLst>
              <a:ext uri="{28A0092B-C50C-407E-A947-70E740481C1C}">
                <a14:useLocalDpi xmlns:a14="http://schemas.microsoft.com/office/drawing/2010/main" val="0"/>
              </a:ext>
            </a:extLst>
          </a:blip>
          <a:srcRect/>
          <a:stretch/>
        </p:blipFill>
        <p:spPr>
          <a:xfrm>
            <a:off x="1518424" y="734685"/>
            <a:ext cx="9155152" cy="5388629"/>
          </a:xfrm>
        </p:spPr>
      </p:pic>
      <p:sp>
        <p:nvSpPr>
          <p:cNvPr id="3" name="Slide Number Placeholder 2">
            <a:extLst>
              <a:ext uri="{FF2B5EF4-FFF2-40B4-BE49-F238E27FC236}">
                <a16:creationId xmlns:a16="http://schemas.microsoft.com/office/drawing/2014/main" id="{579A6915-5722-158D-6977-96239402AA9F}"/>
              </a:ext>
            </a:extLst>
          </p:cNvPr>
          <p:cNvSpPr>
            <a:spLocks noGrp="1"/>
          </p:cNvSpPr>
          <p:nvPr>
            <p:ph type="sldNum" sz="quarter" idx="12"/>
          </p:nvPr>
        </p:nvSpPr>
        <p:spPr/>
        <p:txBody>
          <a:bodyPr/>
          <a:lstStyle/>
          <a:p>
            <a:fld id="{D983F1FA-211D-3044-9E35-958DFBC26156}" type="slidenum">
              <a:rPr lang="en-US" smtClean="0">
                <a:solidFill>
                  <a:prstClr val="white"/>
                </a:solidFill>
              </a:rPr>
              <a:pPr/>
              <a:t>5</a:t>
            </a:fld>
            <a:endParaRPr lang="en-US">
              <a:solidFill>
                <a:prstClr val="white"/>
              </a:solidFill>
            </a:endParaRPr>
          </a:p>
        </p:txBody>
      </p:sp>
      <p:sp>
        <p:nvSpPr>
          <p:cNvPr id="8" name="TextBox 7">
            <a:extLst>
              <a:ext uri="{FF2B5EF4-FFF2-40B4-BE49-F238E27FC236}">
                <a16:creationId xmlns:a16="http://schemas.microsoft.com/office/drawing/2014/main" id="{D8967BF7-AA86-9F81-EDEB-EB9FC7910F5C}"/>
              </a:ext>
            </a:extLst>
          </p:cNvPr>
          <p:cNvSpPr txBox="1"/>
          <p:nvPr/>
        </p:nvSpPr>
        <p:spPr>
          <a:xfrm>
            <a:off x="412595" y="92638"/>
            <a:ext cx="11307337" cy="523220"/>
          </a:xfrm>
          <a:prstGeom prst="rect">
            <a:avLst/>
          </a:prstGeom>
          <a:noFill/>
        </p:spPr>
        <p:txBody>
          <a:bodyPr wrap="square" lIns="91440" tIns="45720" rIns="91440" bIns="45720" rtlCol="0" anchor="t">
            <a:spAutoFit/>
          </a:bodyPr>
          <a:lstStyle/>
          <a:p>
            <a:pPr algn="ctr"/>
            <a:r>
              <a:rPr lang="en-US" sz="2800">
                <a:solidFill>
                  <a:schemeClr val="bg1"/>
                </a:solidFill>
              </a:rPr>
              <a:t>Introduction to Social Connection as a Determinant of Health</a:t>
            </a:r>
            <a:endParaRPr lang="en-US">
              <a:solidFill>
                <a:schemeClr val="bg1"/>
              </a:solidFill>
              <a:cs typeface="Calibri"/>
            </a:endParaRPr>
          </a:p>
        </p:txBody>
      </p:sp>
    </p:spTree>
    <p:extLst>
      <p:ext uri="{BB962C8B-B14F-4D97-AF65-F5344CB8AC3E}">
        <p14:creationId xmlns:p14="http://schemas.microsoft.com/office/powerpoint/2010/main" val="12590474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79A6915-5722-158D-6977-96239402AA9F}"/>
              </a:ext>
            </a:extLst>
          </p:cNvPr>
          <p:cNvSpPr>
            <a:spLocks noGrp="1"/>
          </p:cNvSpPr>
          <p:nvPr>
            <p:ph type="sldNum" sz="quarter" idx="12"/>
          </p:nvPr>
        </p:nvSpPr>
        <p:spPr/>
        <p:txBody>
          <a:bodyPr/>
          <a:lstStyle/>
          <a:p>
            <a:fld id="{D983F1FA-211D-3044-9E35-958DFBC26156}" type="slidenum">
              <a:rPr lang="en-US" smtClean="0">
                <a:solidFill>
                  <a:prstClr val="white"/>
                </a:solidFill>
              </a:rPr>
              <a:pPr/>
              <a:t>6</a:t>
            </a:fld>
            <a:endParaRPr lang="en-US">
              <a:solidFill>
                <a:prstClr val="white"/>
              </a:solidFill>
            </a:endParaRPr>
          </a:p>
        </p:txBody>
      </p:sp>
      <p:sp>
        <p:nvSpPr>
          <p:cNvPr id="4" name="Title 3">
            <a:extLst>
              <a:ext uri="{FF2B5EF4-FFF2-40B4-BE49-F238E27FC236}">
                <a16:creationId xmlns:a16="http://schemas.microsoft.com/office/drawing/2014/main" id="{C465B68B-70BC-52C6-96AE-4AC9F03A7C4E}"/>
              </a:ext>
            </a:extLst>
          </p:cNvPr>
          <p:cNvSpPr>
            <a:spLocks noGrp="1"/>
          </p:cNvSpPr>
          <p:nvPr>
            <p:ph type="title" idx="4294967295"/>
          </p:nvPr>
        </p:nvSpPr>
        <p:spPr>
          <a:xfrm>
            <a:off x="0" y="-76200"/>
            <a:ext cx="12192000" cy="731838"/>
          </a:xfrm>
        </p:spPr>
        <p:txBody>
          <a:bodyPr/>
          <a:lstStyle/>
          <a:p>
            <a:r>
              <a:rPr lang="en-US">
                <a:latin typeface="Arial"/>
                <a:cs typeface="Arial"/>
              </a:rPr>
              <a:t>Did You Know?</a:t>
            </a:r>
            <a:endParaRPr lang="en-US"/>
          </a:p>
        </p:txBody>
      </p:sp>
      <p:sp>
        <p:nvSpPr>
          <p:cNvPr id="6" name="Content Placeholder 5">
            <a:extLst>
              <a:ext uri="{FF2B5EF4-FFF2-40B4-BE49-F238E27FC236}">
                <a16:creationId xmlns:a16="http://schemas.microsoft.com/office/drawing/2014/main" id="{12168C8D-2F43-7598-73A2-0240E783BAF6}"/>
              </a:ext>
            </a:extLst>
          </p:cNvPr>
          <p:cNvSpPr>
            <a:spLocks noGrp="1"/>
          </p:cNvSpPr>
          <p:nvPr>
            <p:ph idx="4294967295"/>
          </p:nvPr>
        </p:nvSpPr>
        <p:spPr>
          <a:xfrm>
            <a:off x="1219200" y="1168400"/>
            <a:ext cx="10972800" cy="4525963"/>
          </a:xfrm>
        </p:spPr>
        <p:txBody>
          <a:bodyPr vert="horz" lIns="91440" tIns="45720" rIns="91440" bIns="45720" rtlCol="0" anchor="t">
            <a:normAutofit/>
          </a:bodyPr>
          <a:lstStyle/>
          <a:p>
            <a:pPr marL="0" indent="0">
              <a:buNone/>
            </a:pPr>
            <a:endParaRPr lang="en-US" sz="1400" b="1"/>
          </a:p>
          <a:p>
            <a:pPr marL="0" indent="0">
              <a:buNone/>
            </a:pPr>
            <a:endParaRPr lang="en-US" sz="1400">
              <a:latin typeface="Arial"/>
              <a:cs typeface="Arial"/>
            </a:endParaRPr>
          </a:p>
          <a:p>
            <a:endParaRPr lang="en-US" sz="1400">
              <a:latin typeface="Arial"/>
              <a:cs typeface="Arial"/>
            </a:endParaRPr>
          </a:p>
        </p:txBody>
      </p:sp>
      <p:pic>
        <p:nvPicPr>
          <p:cNvPr id="2" name="Picture 1" descr="Irene Triplett, the last Civil War beneficiary - Squadron ...">
            <a:extLst>
              <a:ext uri="{FF2B5EF4-FFF2-40B4-BE49-F238E27FC236}">
                <a16:creationId xmlns:a16="http://schemas.microsoft.com/office/drawing/2014/main" id="{37971C94-2795-3A49-8CA7-F2F7E389C35C}"/>
              </a:ext>
            </a:extLst>
          </p:cNvPr>
          <p:cNvPicPr>
            <a:picLocks noChangeAspect="1"/>
          </p:cNvPicPr>
          <p:nvPr/>
        </p:nvPicPr>
        <p:blipFill>
          <a:blip r:embed="rId3"/>
          <a:stretch>
            <a:fillRect/>
          </a:stretch>
        </p:blipFill>
        <p:spPr>
          <a:xfrm>
            <a:off x="1129990" y="739697"/>
            <a:ext cx="10137334" cy="5378606"/>
          </a:xfrm>
          <a:prstGeom prst="rect">
            <a:avLst/>
          </a:prstGeom>
        </p:spPr>
      </p:pic>
      <p:pic>
        <p:nvPicPr>
          <p:cNvPr id="7" name="Picture 6" descr="Irene Triplett, the last person receiving Civil War pension ...">
            <a:extLst>
              <a:ext uri="{FF2B5EF4-FFF2-40B4-BE49-F238E27FC236}">
                <a16:creationId xmlns:a16="http://schemas.microsoft.com/office/drawing/2014/main" id="{FF1EA0FD-6808-60FB-842F-9364D223EE05}"/>
              </a:ext>
            </a:extLst>
          </p:cNvPr>
          <p:cNvPicPr>
            <a:picLocks noChangeAspect="1"/>
          </p:cNvPicPr>
          <p:nvPr/>
        </p:nvPicPr>
        <p:blipFill>
          <a:blip r:embed="rId4"/>
          <a:stretch>
            <a:fillRect/>
          </a:stretch>
        </p:blipFill>
        <p:spPr>
          <a:xfrm>
            <a:off x="-3972305" y="1168400"/>
            <a:ext cx="1848610" cy="4114799"/>
          </a:xfrm>
          <a:prstGeom prst="rect">
            <a:avLst/>
          </a:prstGeom>
        </p:spPr>
      </p:pic>
      <p:sp>
        <p:nvSpPr>
          <p:cNvPr id="5" name="TextBox 4">
            <a:extLst>
              <a:ext uri="{FF2B5EF4-FFF2-40B4-BE49-F238E27FC236}">
                <a16:creationId xmlns:a16="http://schemas.microsoft.com/office/drawing/2014/main" id="{AA4A1AB8-D015-0235-294A-A4B7AB9D2CCC}"/>
              </a:ext>
            </a:extLst>
          </p:cNvPr>
          <p:cNvSpPr txBox="1"/>
          <p:nvPr/>
        </p:nvSpPr>
        <p:spPr>
          <a:xfrm>
            <a:off x="5365721" y="4264985"/>
            <a:ext cx="4599643" cy="56630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57175" indent="-257175" algn="ctr">
              <a:spcBef>
                <a:spcPct val="20000"/>
              </a:spcBef>
            </a:pPr>
            <a:endParaRPr lang="en-US" sz="1400">
              <a:latin typeface="Arial"/>
              <a:cs typeface="Arial"/>
            </a:endParaRPr>
          </a:p>
          <a:p>
            <a:pPr>
              <a:spcBef>
                <a:spcPct val="20000"/>
              </a:spcBef>
            </a:pPr>
            <a:endParaRPr lang="en-US" sz="1400">
              <a:latin typeface="Arial"/>
              <a:cs typeface="Arial"/>
            </a:endParaRPr>
          </a:p>
        </p:txBody>
      </p:sp>
    </p:spTree>
    <p:extLst>
      <p:ext uri="{BB962C8B-B14F-4D97-AF65-F5344CB8AC3E}">
        <p14:creationId xmlns:p14="http://schemas.microsoft.com/office/powerpoint/2010/main" val="10319766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79A6915-5722-158D-6977-96239402AA9F}"/>
              </a:ext>
            </a:extLst>
          </p:cNvPr>
          <p:cNvSpPr>
            <a:spLocks noGrp="1"/>
          </p:cNvSpPr>
          <p:nvPr>
            <p:ph type="sldNum" sz="quarter" idx="12"/>
          </p:nvPr>
        </p:nvSpPr>
        <p:spPr/>
        <p:txBody>
          <a:bodyPr/>
          <a:lstStyle/>
          <a:p>
            <a:fld id="{D983F1FA-211D-3044-9E35-958DFBC26156}" type="slidenum">
              <a:rPr lang="en-US" smtClean="0">
                <a:solidFill>
                  <a:prstClr val="white"/>
                </a:solidFill>
              </a:rPr>
              <a:pPr/>
              <a:t>7</a:t>
            </a:fld>
            <a:endParaRPr lang="en-US">
              <a:solidFill>
                <a:prstClr val="white"/>
              </a:solidFill>
            </a:endParaRPr>
          </a:p>
        </p:txBody>
      </p:sp>
      <p:sp>
        <p:nvSpPr>
          <p:cNvPr id="4" name="Title 3">
            <a:extLst>
              <a:ext uri="{FF2B5EF4-FFF2-40B4-BE49-F238E27FC236}">
                <a16:creationId xmlns:a16="http://schemas.microsoft.com/office/drawing/2014/main" id="{C465B68B-70BC-52C6-96AE-4AC9F03A7C4E}"/>
              </a:ext>
            </a:extLst>
          </p:cNvPr>
          <p:cNvSpPr>
            <a:spLocks noGrp="1"/>
          </p:cNvSpPr>
          <p:nvPr>
            <p:ph type="title" idx="4294967295"/>
          </p:nvPr>
        </p:nvSpPr>
        <p:spPr>
          <a:xfrm>
            <a:off x="0" y="-76200"/>
            <a:ext cx="12192000" cy="731838"/>
          </a:xfrm>
        </p:spPr>
        <p:txBody>
          <a:bodyPr/>
          <a:lstStyle/>
          <a:p>
            <a:r>
              <a:rPr lang="en-US">
                <a:latin typeface="Arial"/>
                <a:cs typeface="Arial"/>
              </a:rPr>
              <a:t>Did You Know?</a:t>
            </a:r>
            <a:endParaRPr lang="en-US"/>
          </a:p>
        </p:txBody>
      </p:sp>
      <p:sp>
        <p:nvSpPr>
          <p:cNvPr id="6" name="Content Placeholder 5">
            <a:extLst>
              <a:ext uri="{FF2B5EF4-FFF2-40B4-BE49-F238E27FC236}">
                <a16:creationId xmlns:a16="http://schemas.microsoft.com/office/drawing/2014/main" id="{12168C8D-2F43-7598-73A2-0240E783BAF6}"/>
              </a:ext>
            </a:extLst>
          </p:cNvPr>
          <p:cNvSpPr>
            <a:spLocks noGrp="1"/>
          </p:cNvSpPr>
          <p:nvPr>
            <p:ph idx="4294967295"/>
          </p:nvPr>
        </p:nvSpPr>
        <p:spPr>
          <a:xfrm>
            <a:off x="1219200" y="1168400"/>
            <a:ext cx="10972800" cy="4525963"/>
          </a:xfrm>
        </p:spPr>
        <p:txBody>
          <a:bodyPr vert="horz" lIns="91440" tIns="45720" rIns="91440" bIns="45720" rtlCol="0" anchor="t">
            <a:normAutofit/>
          </a:bodyPr>
          <a:lstStyle/>
          <a:p>
            <a:pPr marL="0" indent="0">
              <a:buNone/>
            </a:pPr>
            <a:endParaRPr lang="en-US" sz="1400" b="1"/>
          </a:p>
          <a:p>
            <a:pPr marL="0" indent="0">
              <a:buNone/>
            </a:pPr>
            <a:endParaRPr lang="en-US" sz="1400">
              <a:latin typeface="Arial"/>
              <a:cs typeface="Arial"/>
            </a:endParaRPr>
          </a:p>
          <a:p>
            <a:endParaRPr lang="en-US" sz="1400">
              <a:latin typeface="Arial"/>
              <a:cs typeface="Arial"/>
            </a:endParaRPr>
          </a:p>
        </p:txBody>
      </p:sp>
      <p:pic>
        <p:nvPicPr>
          <p:cNvPr id="2" name="Picture 1" descr="Irene Triplett, the last Civil War beneficiary - Squadron ...">
            <a:extLst>
              <a:ext uri="{FF2B5EF4-FFF2-40B4-BE49-F238E27FC236}">
                <a16:creationId xmlns:a16="http://schemas.microsoft.com/office/drawing/2014/main" id="{37971C94-2795-3A49-8CA7-F2F7E389C35C}"/>
              </a:ext>
            </a:extLst>
          </p:cNvPr>
          <p:cNvPicPr>
            <a:picLocks noChangeAspect="1"/>
          </p:cNvPicPr>
          <p:nvPr/>
        </p:nvPicPr>
        <p:blipFill>
          <a:blip r:embed="rId3"/>
          <a:stretch>
            <a:fillRect/>
          </a:stretch>
        </p:blipFill>
        <p:spPr>
          <a:xfrm>
            <a:off x="5361709" y="1367305"/>
            <a:ext cx="4585854" cy="2433135"/>
          </a:xfrm>
          <a:prstGeom prst="rect">
            <a:avLst/>
          </a:prstGeom>
        </p:spPr>
      </p:pic>
      <p:pic>
        <p:nvPicPr>
          <p:cNvPr id="7" name="Picture 6" descr="Irene Triplett, the last person receiving Civil War pension ...">
            <a:extLst>
              <a:ext uri="{FF2B5EF4-FFF2-40B4-BE49-F238E27FC236}">
                <a16:creationId xmlns:a16="http://schemas.microsoft.com/office/drawing/2014/main" id="{FF1EA0FD-6808-60FB-842F-9364D223EE05}"/>
              </a:ext>
            </a:extLst>
          </p:cNvPr>
          <p:cNvPicPr>
            <a:picLocks noChangeAspect="1"/>
          </p:cNvPicPr>
          <p:nvPr/>
        </p:nvPicPr>
        <p:blipFill>
          <a:blip r:embed="rId4"/>
          <a:stretch>
            <a:fillRect/>
          </a:stretch>
        </p:blipFill>
        <p:spPr>
          <a:xfrm>
            <a:off x="3301331" y="1371600"/>
            <a:ext cx="1848610" cy="4114799"/>
          </a:xfrm>
          <a:prstGeom prst="rect">
            <a:avLst/>
          </a:prstGeom>
        </p:spPr>
      </p:pic>
      <p:sp>
        <p:nvSpPr>
          <p:cNvPr id="5" name="TextBox 4">
            <a:extLst>
              <a:ext uri="{FF2B5EF4-FFF2-40B4-BE49-F238E27FC236}">
                <a16:creationId xmlns:a16="http://schemas.microsoft.com/office/drawing/2014/main" id="{AA4A1AB8-D015-0235-294A-A4B7AB9D2CCC}"/>
              </a:ext>
            </a:extLst>
          </p:cNvPr>
          <p:cNvSpPr txBox="1"/>
          <p:nvPr/>
        </p:nvSpPr>
        <p:spPr>
          <a:xfrm>
            <a:off x="5365721" y="4264985"/>
            <a:ext cx="4599643" cy="84330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57175" indent="-257175" algn="ctr">
              <a:spcBef>
                <a:spcPct val="20000"/>
              </a:spcBef>
            </a:pPr>
            <a:r>
              <a:rPr lang="en-US" sz="3200">
                <a:latin typeface="Arial"/>
                <a:cs typeface="Arial"/>
              </a:rPr>
              <a:t>Irene Triplett</a:t>
            </a:r>
          </a:p>
          <a:p>
            <a:pPr>
              <a:spcBef>
                <a:spcPct val="20000"/>
              </a:spcBef>
            </a:pPr>
            <a:endParaRPr lang="en-US" sz="1400">
              <a:latin typeface="Arial"/>
              <a:cs typeface="Arial"/>
            </a:endParaRPr>
          </a:p>
        </p:txBody>
      </p:sp>
    </p:spTree>
    <p:extLst>
      <p:ext uri="{BB962C8B-B14F-4D97-AF65-F5344CB8AC3E}">
        <p14:creationId xmlns:p14="http://schemas.microsoft.com/office/powerpoint/2010/main" val="30649550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5E15BE2-B3C1-5AD3-1C9A-936A624D4EC3}"/>
              </a:ext>
            </a:extLst>
          </p:cNvPr>
          <p:cNvSpPr>
            <a:spLocks noGrp="1"/>
          </p:cNvSpPr>
          <p:nvPr>
            <p:ph type="sldNum" sz="quarter" idx="12"/>
          </p:nvPr>
        </p:nvSpPr>
        <p:spPr/>
        <p:txBody>
          <a:bodyPr/>
          <a:lstStyle/>
          <a:p>
            <a:fld id="{D983F1FA-211D-3044-9E35-958DFBC26156}" type="slidenum">
              <a:rPr lang="en-US" smtClean="0">
                <a:solidFill>
                  <a:prstClr val="white"/>
                </a:solidFill>
              </a:rPr>
              <a:pPr/>
              <a:t>8</a:t>
            </a:fld>
            <a:endParaRPr lang="en-US">
              <a:solidFill>
                <a:prstClr val="white"/>
              </a:solidFill>
            </a:endParaRPr>
          </a:p>
        </p:txBody>
      </p:sp>
      <p:sp>
        <p:nvSpPr>
          <p:cNvPr id="4" name="Title 3">
            <a:extLst>
              <a:ext uri="{FF2B5EF4-FFF2-40B4-BE49-F238E27FC236}">
                <a16:creationId xmlns:a16="http://schemas.microsoft.com/office/drawing/2014/main" id="{2B73225E-6E65-6914-1078-69EBC3BED2B4}"/>
              </a:ext>
            </a:extLst>
          </p:cNvPr>
          <p:cNvSpPr>
            <a:spLocks noGrp="1"/>
          </p:cNvSpPr>
          <p:nvPr>
            <p:ph type="title"/>
          </p:nvPr>
        </p:nvSpPr>
        <p:spPr/>
        <p:txBody>
          <a:bodyPr/>
          <a:lstStyle/>
          <a:p>
            <a:r>
              <a:rPr lang="en-US">
                <a:latin typeface="Arial"/>
                <a:cs typeface="Arial"/>
              </a:rPr>
              <a:t>Rationale for Diversity Training</a:t>
            </a:r>
            <a:endParaRPr lang="en-US"/>
          </a:p>
        </p:txBody>
      </p:sp>
      <p:sp>
        <p:nvSpPr>
          <p:cNvPr id="2" name="Content Placeholder 1">
            <a:extLst>
              <a:ext uri="{FF2B5EF4-FFF2-40B4-BE49-F238E27FC236}">
                <a16:creationId xmlns:a16="http://schemas.microsoft.com/office/drawing/2014/main" id="{2900063C-AAA6-4861-E282-447FB24D1450}"/>
              </a:ext>
            </a:extLst>
          </p:cNvPr>
          <p:cNvSpPr>
            <a:spLocks noGrp="1"/>
          </p:cNvSpPr>
          <p:nvPr>
            <p:ph idx="4294967295"/>
          </p:nvPr>
        </p:nvSpPr>
        <p:spPr>
          <a:xfrm>
            <a:off x="611372" y="1088065"/>
            <a:ext cx="10972800" cy="4525963"/>
          </a:xfrm>
        </p:spPr>
        <p:txBody>
          <a:bodyPr vert="horz" lIns="91440" tIns="45720" rIns="91440" bIns="45720" rtlCol="0" anchor="t">
            <a:normAutofit fontScale="70000" lnSpcReduction="20000"/>
          </a:bodyPr>
          <a:lstStyle/>
          <a:p>
            <a:pPr>
              <a:spcBef>
                <a:spcPts val="1400"/>
              </a:spcBef>
              <a:spcAft>
                <a:spcPts val="500"/>
              </a:spcAft>
            </a:pPr>
            <a:r>
              <a:rPr lang="en-US">
                <a:latin typeface="Arial"/>
                <a:cs typeface="Arial"/>
              </a:rPr>
              <a:t>The Veteran population is evolving, becoming more diverse across racial, gender, and sexual identity lines (U.S. Department of Veterans Affairs, 2021).</a:t>
            </a:r>
          </a:p>
          <a:p>
            <a:pPr>
              <a:spcBef>
                <a:spcPts val="1400"/>
              </a:spcBef>
              <a:spcAft>
                <a:spcPts val="500"/>
              </a:spcAft>
            </a:pPr>
            <a:r>
              <a:rPr lang="en-US">
                <a:latin typeface="Arial"/>
                <a:cs typeface="Arial"/>
              </a:rPr>
              <a:t>Services must adapt to meet the unique needs of all Veterans, including those from marginalized communities (U.S. Department of Veterans Affairs, 2021).</a:t>
            </a:r>
            <a:endParaRPr lang="en-US"/>
          </a:p>
          <a:p>
            <a:pPr>
              <a:spcBef>
                <a:spcPts val="1400"/>
              </a:spcBef>
              <a:spcAft>
                <a:spcPts val="500"/>
              </a:spcAft>
            </a:pPr>
            <a:r>
              <a:rPr lang="en-US">
                <a:latin typeface="Arial"/>
                <a:cs typeface="Arial"/>
              </a:rPr>
              <a:t>Understanding how social determinants of health impact Veterans helps enhance the care and support you provide (Office of Health Equity, U.S. Department of Veterans Affairs, 2022).</a:t>
            </a:r>
            <a:endParaRPr lang="en-US"/>
          </a:p>
          <a:p>
            <a:pPr>
              <a:spcBef>
                <a:spcPts val="1400"/>
              </a:spcBef>
              <a:spcAft>
                <a:spcPts val="500"/>
              </a:spcAft>
            </a:pPr>
            <a:r>
              <a:rPr lang="en-US">
                <a:latin typeface="Arial"/>
                <a:cs typeface="Arial"/>
              </a:rPr>
              <a:t>Familiarity with the historical challenges faced by LGBTQ+ and minority Veterans improves your rapport and deepens your empathy (</a:t>
            </a:r>
            <a:r>
              <a:rPr lang="en-US" err="1">
                <a:latin typeface="Arial"/>
                <a:cs typeface="Arial"/>
              </a:rPr>
              <a:t>Kauth</a:t>
            </a:r>
            <a:r>
              <a:rPr lang="en-US">
                <a:latin typeface="Arial"/>
                <a:cs typeface="Arial"/>
              </a:rPr>
              <a:t> et al., 2019).</a:t>
            </a:r>
            <a:endParaRPr lang="en-US"/>
          </a:p>
          <a:p>
            <a:pPr>
              <a:spcBef>
                <a:spcPts val="1400"/>
              </a:spcBef>
              <a:spcAft>
                <a:spcPts val="500"/>
              </a:spcAft>
            </a:pPr>
            <a:r>
              <a:rPr lang="en-US">
                <a:latin typeface="Arial"/>
                <a:cs typeface="Arial"/>
              </a:rPr>
              <a:t>Building trust through inclusive communication practices, like using correct names and pronouns, can help Veterans feel safe accessing care and benefits (National LGBTQ Health Education Center, 2020).</a:t>
            </a:r>
            <a:endParaRPr lang="en-US"/>
          </a:p>
          <a:p>
            <a:pPr>
              <a:spcBef>
                <a:spcPts val="1400"/>
              </a:spcBef>
              <a:spcAft>
                <a:spcPts val="500"/>
              </a:spcAft>
            </a:pPr>
            <a:r>
              <a:rPr lang="en-US">
                <a:latin typeface="Arial"/>
                <a:cs typeface="Arial"/>
              </a:rPr>
              <a:t>By fostering inclusivity, you help prevent barriers to care, reduce disparities, and support suicide prevention efforts among at-risk Veteran populations (</a:t>
            </a:r>
            <a:r>
              <a:rPr lang="en-US" err="1">
                <a:latin typeface="Arial"/>
                <a:cs typeface="Arial"/>
              </a:rPr>
              <a:t>Blosnich</a:t>
            </a:r>
            <a:r>
              <a:rPr lang="en-US">
                <a:latin typeface="Arial"/>
                <a:cs typeface="Arial"/>
              </a:rPr>
              <a:t> et al., 2021; U.S. Department of Veterans Affairs, 2021).</a:t>
            </a:r>
            <a:endParaRPr lang="en-US"/>
          </a:p>
          <a:p>
            <a:pPr>
              <a:spcBef>
                <a:spcPts val="1400"/>
              </a:spcBef>
              <a:spcAft>
                <a:spcPts val="500"/>
              </a:spcAft>
            </a:pPr>
            <a:endParaRPr lang="en-US"/>
          </a:p>
          <a:p>
            <a:pPr>
              <a:spcBef>
                <a:spcPts val="1400"/>
              </a:spcBef>
              <a:spcAft>
                <a:spcPts val="500"/>
              </a:spcAft>
            </a:pPr>
            <a:endParaRPr lang="en-US"/>
          </a:p>
        </p:txBody>
      </p:sp>
    </p:spTree>
    <p:extLst>
      <p:ext uri="{BB962C8B-B14F-4D97-AF65-F5344CB8AC3E}">
        <p14:creationId xmlns:p14="http://schemas.microsoft.com/office/powerpoint/2010/main" val="16844262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AA4286A-3D8C-5148-5EF3-04046C2412F3}"/>
              </a:ext>
            </a:extLst>
          </p:cNvPr>
          <p:cNvSpPr>
            <a:spLocks noGrp="1"/>
          </p:cNvSpPr>
          <p:nvPr>
            <p:ph type="sldNum" sz="quarter" idx="12"/>
          </p:nvPr>
        </p:nvSpPr>
        <p:spPr/>
        <p:txBody>
          <a:bodyPr/>
          <a:lstStyle/>
          <a:p>
            <a:fld id="{D983F1FA-211D-3044-9E35-958DFBC26156}" type="slidenum">
              <a:rPr lang="en-US" smtClean="0">
                <a:solidFill>
                  <a:prstClr val="white"/>
                </a:solidFill>
              </a:rPr>
              <a:pPr/>
              <a:t>9</a:t>
            </a:fld>
            <a:endParaRPr lang="en-US">
              <a:solidFill>
                <a:prstClr val="white"/>
              </a:solidFill>
            </a:endParaRPr>
          </a:p>
        </p:txBody>
      </p:sp>
      <p:sp>
        <p:nvSpPr>
          <p:cNvPr id="4" name="Title 3">
            <a:extLst>
              <a:ext uri="{FF2B5EF4-FFF2-40B4-BE49-F238E27FC236}">
                <a16:creationId xmlns:a16="http://schemas.microsoft.com/office/drawing/2014/main" id="{08D33560-49A6-9362-697B-B4C121E19899}"/>
              </a:ext>
            </a:extLst>
          </p:cNvPr>
          <p:cNvSpPr>
            <a:spLocks noGrp="1"/>
          </p:cNvSpPr>
          <p:nvPr>
            <p:ph type="title"/>
          </p:nvPr>
        </p:nvSpPr>
        <p:spPr/>
        <p:txBody>
          <a:bodyPr/>
          <a:lstStyle/>
          <a:p>
            <a:r>
              <a:rPr lang="en-US">
                <a:latin typeface="Arial"/>
                <a:cs typeface="Arial"/>
              </a:rPr>
              <a:t>Exercise: Exploring Your Personal Identity</a:t>
            </a:r>
          </a:p>
        </p:txBody>
      </p:sp>
      <p:graphicFrame>
        <p:nvGraphicFramePr>
          <p:cNvPr id="6" name="Content Placeholder 5">
            <a:extLst>
              <a:ext uri="{FF2B5EF4-FFF2-40B4-BE49-F238E27FC236}">
                <a16:creationId xmlns:a16="http://schemas.microsoft.com/office/drawing/2014/main" id="{A3B83A32-3E38-9C78-5B4C-39F5CAA78BEB}"/>
              </a:ext>
            </a:extLst>
          </p:cNvPr>
          <p:cNvGraphicFramePr>
            <a:graphicFrameLocks noGrp="1"/>
          </p:cNvGraphicFramePr>
          <p:nvPr>
            <p:ph idx="4294967295"/>
            <p:extLst>
              <p:ext uri="{D42A27DB-BD31-4B8C-83A1-F6EECF244321}">
                <p14:modId xmlns:p14="http://schemas.microsoft.com/office/powerpoint/2010/main" val="3501258685"/>
              </p:ext>
            </p:extLst>
          </p:nvPr>
        </p:nvGraphicFramePr>
        <p:xfrm>
          <a:off x="602512" y="1052623"/>
          <a:ext cx="10972800" cy="4251955"/>
        </p:xfrm>
        <a:graphic>
          <a:graphicData uri="http://schemas.openxmlformats.org/drawingml/2006/table">
            <a:tbl>
              <a:tblPr firstRow="1" bandRow="1">
                <a:tableStyleId>{9DCAF9ED-07DC-4A11-8D7F-57B35C25682E}</a:tableStyleId>
              </a:tblPr>
              <a:tblGrid>
                <a:gridCol w="3657600">
                  <a:extLst>
                    <a:ext uri="{9D8B030D-6E8A-4147-A177-3AD203B41FA5}">
                      <a16:colId xmlns:a16="http://schemas.microsoft.com/office/drawing/2014/main" val="2450964408"/>
                    </a:ext>
                  </a:extLst>
                </a:gridCol>
                <a:gridCol w="3657600">
                  <a:extLst>
                    <a:ext uri="{9D8B030D-6E8A-4147-A177-3AD203B41FA5}">
                      <a16:colId xmlns:a16="http://schemas.microsoft.com/office/drawing/2014/main" val="2819737913"/>
                    </a:ext>
                  </a:extLst>
                </a:gridCol>
                <a:gridCol w="3657600">
                  <a:extLst>
                    <a:ext uri="{9D8B030D-6E8A-4147-A177-3AD203B41FA5}">
                      <a16:colId xmlns:a16="http://schemas.microsoft.com/office/drawing/2014/main" val="4096958873"/>
                    </a:ext>
                  </a:extLst>
                </a:gridCol>
              </a:tblGrid>
              <a:tr h="370840">
                <a:tc>
                  <a:txBody>
                    <a:bodyPr/>
                    <a:lstStyle/>
                    <a:p>
                      <a:r>
                        <a:rPr lang="en-US" sz="1200">
                          <a:latin typeface="Arial"/>
                        </a:rPr>
                        <a:t>Cultural Characteristic</a:t>
                      </a:r>
                    </a:p>
                  </a:txBody>
                  <a:tcPr/>
                </a:tc>
                <a:tc>
                  <a:txBody>
                    <a:bodyPr/>
                    <a:lstStyle/>
                    <a:p>
                      <a:r>
                        <a:rPr lang="en-US" sz="1200">
                          <a:latin typeface="Arial"/>
                        </a:rPr>
                        <a:t>Power</a:t>
                      </a:r>
                    </a:p>
                  </a:txBody>
                  <a:tcPr/>
                </a:tc>
                <a:tc>
                  <a:txBody>
                    <a:bodyPr/>
                    <a:lstStyle/>
                    <a:p>
                      <a:r>
                        <a:rPr lang="en-US" sz="1200">
                          <a:latin typeface="Arial"/>
                        </a:rPr>
                        <a:t>Less Power</a:t>
                      </a:r>
                    </a:p>
                  </a:txBody>
                  <a:tcPr/>
                </a:tc>
                <a:extLst>
                  <a:ext uri="{0D108BD9-81ED-4DB2-BD59-A6C34878D82A}">
                    <a16:rowId xmlns:a16="http://schemas.microsoft.com/office/drawing/2014/main" val="2827480689"/>
                  </a:ext>
                </a:extLst>
              </a:tr>
              <a:tr h="370840">
                <a:tc>
                  <a:txBody>
                    <a:bodyPr/>
                    <a:lstStyle/>
                    <a:p>
                      <a:r>
                        <a:rPr lang="en-US" sz="1200" b="1">
                          <a:latin typeface="Arial"/>
                        </a:rPr>
                        <a:t>Age and Generational Influences</a:t>
                      </a:r>
                    </a:p>
                  </a:txBody>
                  <a:tcPr/>
                </a:tc>
                <a:tc>
                  <a:txBody>
                    <a:bodyPr/>
                    <a:lstStyle/>
                    <a:p>
                      <a:r>
                        <a:rPr lang="en-US" sz="1200">
                          <a:latin typeface="Arial"/>
                        </a:rPr>
                        <a:t>Adults</a:t>
                      </a:r>
                    </a:p>
                  </a:txBody>
                  <a:tcPr/>
                </a:tc>
                <a:tc>
                  <a:txBody>
                    <a:bodyPr/>
                    <a:lstStyle/>
                    <a:p>
                      <a:r>
                        <a:rPr lang="en-US" sz="1200">
                          <a:latin typeface="Arial"/>
                        </a:rPr>
                        <a:t>Children, adolescents, elders</a:t>
                      </a:r>
                    </a:p>
                  </a:txBody>
                  <a:tcPr/>
                </a:tc>
                <a:extLst>
                  <a:ext uri="{0D108BD9-81ED-4DB2-BD59-A6C34878D82A}">
                    <a16:rowId xmlns:a16="http://schemas.microsoft.com/office/drawing/2014/main" val="404980185"/>
                  </a:ext>
                </a:extLst>
              </a:tr>
              <a:tr h="370840">
                <a:tc>
                  <a:txBody>
                    <a:bodyPr/>
                    <a:lstStyle/>
                    <a:p>
                      <a:r>
                        <a:rPr lang="en-US" sz="1200" b="1">
                          <a:latin typeface="Arial"/>
                        </a:rPr>
                        <a:t>Developmental Disability</a:t>
                      </a:r>
                    </a:p>
                  </a:txBody>
                  <a:tcPr/>
                </a:tc>
                <a:tc>
                  <a:txBody>
                    <a:bodyPr/>
                    <a:lstStyle/>
                    <a:p>
                      <a:r>
                        <a:rPr lang="en-US" sz="1200">
                          <a:latin typeface="Arial"/>
                        </a:rPr>
                        <a:t>Temporarily able-bodied</a:t>
                      </a:r>
                    </a:p>
                  </a:txBody>
                  <a:tcPr/>
                </a:tc>
                <a:tc>
                  <a:txBody>
                    <a:bodyPr/>
                    <a:lstStyle/>
                    <a:p>
                      <a:r>
                        <a:rPr lang="en-US" sz="1200" i="1">
                          <a:latin typeface="Arial"/>
                        </a:rPr>
                        <a:t>Individuals</a:t>
                      </a:r>
                      <a:r>
                        <a:rPr lang="en-US" sz="1200" i="0">
                          <a:latin typeface="Arial"/>
                        </a:rPr>
                        <a:t> with disabilities</a:t>
                      </a:r>
                      <a:endParaRPr lang="en-US" sz="1200" i="1">
                        <a:latin typeface="Arial"/>
                      </a:endParaRPr>
                    </a:p>
                  </a:txBody>
                  <a:tcPr/>
                </a:tc>
                <a:extLst>
                  <a:ext uri="{0D108BD9-81ED-4DB2-BD59-A6C34878D82A}">
                    <a16:rowId xmlns:a16="http://schemas.microsoft.com/office/drawing/2014/main" val="322767121"/>
                  </a:ext>
                </a:extLst>
              </a:tr>
              <a:tr h="370840">
                <a:tc>
                  <a:txBody>
                    <a:bodyPr/>
                    <a:lstStyle/>
                    <a:p>
                      <a:r>
                        <a:rPr lang="en-US" sz="1200" b="1">
                          <a:latin typeface="Arial"/>
                        </a:rPr>
                        <a:t>Disability Acquired Later in Life</a:t>
                      </a:r>
                    </a:p>
                  </a:txBody>
                  <a:tcPr/>
                </a:tc>
                <a:tc>
                  <a:txBody>
                    <a:bodyPr/>
                    <a:lstStyle/>
                    <a:p>
                      <a:pPr lvl="0">
                        <a:buNone/>
                      </a:pPr>
                      <a:r>
                        <a:rPr lang="en-US" sz="1200">
                          <a:latin typeface="Arial"/>
                        </a:rPr>
                        <a:t>Temporarily able-bodied</a:t>
                      </a:r>
                    </a:p>
                  </a:txBody>
                  <a:tcPr/>
                </a:tc>
                <a:tc>
                  <a:txBody>
                    <a:bodyPr/>
                    <a:lstStyle/>
                    <a:p>
                      <a:r>
                        <a:rPr lang="en-US" sz="1200" i="1">
                          <a:latin typeface="Arial"/>
                        </a:rPr>
                        <a:t>Individuals</a:t>
                      </a:r>
                      <a:r>
                        <a:rPr lang="en-US" sz="1200" i="0">
                          <a:latin typeface="Arial"/>
                        </a:rPr>
                        <a:t> with disabilities (e.g., multiple sclerosis or dementia caused by stroke)</a:t>
                      </a:r>
                      <a:endParaRPr lang="en-US" sz="1200">
                        <a:latin typeface="Arial"/>
                      </a:endParaRPr>
                    </a:p>
                  </a:txBody>
                  <a:tcPr/>
                </a:tc>
                <a:extLst>
                  <a:ext uri="{0D108BD9-81ED-4DB2-BD59-A6C34878D82A}">
                    <a16:rowId xmlns:a16="http://schemas.microsoft.com/office/drawing/2014/main" val="2084058577"/>
                  </a:ext>
                </a:extLst>
              </a:tr>
              <a:tr h="370840">
                <a:tc>
                  <a:txBody>
                    <a:bodyPr/>
                    <a:lstStyle/>
                    <a:p>
                      <a:r>
                        <a:rPr lang="en-US" sz="1200" b="1">
                          <a:latin typeface="Arial"/>
                        </a:rPr>
                        <a:t>Religion and Spiritual Orientation</a:t>
                      </a:r>
                    </a:p>
                  </a:txBody>
                  <a:tcPr/>
                </a:tc>
                <a:tc>
                  <a:txBody>
                    <a:bodyPr/>
                    <a:lstStyle/>
                    <a:p>
                      <a:r>
                        <a:rPr lang="en-US" sz="1200">
                          <a:latin typeface="Arial"/>
                        </a:rPr>
                        <a:t>Christians</a:t>
                      </a:r>
                    </a:p>
                  </a:txBody>
                  <a:tcPr/>
                </a:tc>
                <a:tc>
                  <a:txBody>
                    <a:bodyPr/>
                    <a:lstStyle/>
                    <a:p>
                      <a:r>
                        <a:rPr lang="en-US" sz="1200">
                          <a:latin typeface="Arial"/>
                        </a:rPr>
                        <a:t>Non-Christians</a:t>
                      </a:r>
                    </a:p>
                  </a:txBody>
                  <a:tcPr/>
                </a:tc>
                <a:extLst>
                  <a:ext uri="{0D108BD9-81ED-4DB2-BD59-A6C34878D82A}">
                    <a16:rowId xmlns:a16="http://schemas.microsoft.com/office/drawing/2014/main" val="3209862833"/>
                  </a:ext>
                </a:extLst>
              </a:tr>
              <a:tr h="370840">
                <a:tc>
                  <a:txBody>
                    <a:bodyPr/>
                    <a:lstStyle/>
                    <a:p>
                      <a:r>
                        <a:rPr lang="en-US" sz="1200" b="1">
                          <a:latin typeface="Arial"/>
                        </a:rPr>
                        <a:t>Ethnicity/Race Identity</a:t>
                      </a:r>
                    </a:p>
                  </a:txBody>
                  <a:tcPr/>
                </a:tc>
                <a:tc>
                  <a:txBody>
                    <a:bodyPr/>
                    <a:lstStyle/>
                    <a:p>
                      <a:r>
                        <a:rPr lang="en-US" sz="1200">
                          <a:latin typeface="Arial"/>
                        </a:rPr>
                        <a:t>White or Caucasian</a:t>
                      </a:r>
                    </a:p>
                  </a:txBody>
                  <a:tcPr/>
                </a:tc>
                <a:tc>
                  <a:txBody>
                    <a:bodyPr/>
                    <a:lstStyle/>
                    <a:p>
                      <a:r>
                        <a:rPr lang="en-US" sz="1200">
                          <a:latin typeface="Arial"/>
                        </a:rPr>
                        <a:t>Persons of color</a:t>
                      </a:r>
                    </a:p>
                  </a:txBody>
                  <a:tcPr/>
                </a:tc>
                <a:extLst>
                  <a:ext uri="{0D108BD9-81ED-4DB2-BD59-A6C34878D82A}">
                    <a16:rowId xmlns:a16="http://schemas.microsoft.com/office/drawing/2014/main" val="3518246199"/>
                  </a:ext>
                </a:extLst>
              </a:tr>
              <a:tr h="370840">
                <a:tc>
                  <a:txBody>
                    <a:bodyPr/>
                    <a:lstStyle/>
                    <a:p>
                      <a:r>
                        <a:rPr lang="en-US" sz="1200" b="1">
                          <a:latin typeface="Arial"/>
                        </a:rPr>
                        <a:t>Socioeconomic Status</a:t>
                      </a:r>
                    </a:p>
                  </a:txBody>
                  <a:tcPr/>
                </a:tc>
                <a:tc>
                  <a:txBody>
                    <a:bodyPr/>
                    <a:lstStyle/>
                    <a:p>
                      <a:r>
                        <a:rPr lang="en-US" sz="1200">
                          <a:latin typeface="Arial"/>
                        </a:rPr>
                        <a:t>Owning and middle class (access to higher education)</a:t>
                      </a:r>
                    </a:p>
                  </a:txBody>
                  <a:tcPr/>
                </a:tc>
                <a:tc>
                  <a:txBody>
                    <a:bodyPr/>
                    <a:lstStyle/>
                    <a:p>
                      <a:r>
                        <a:rPr lang="en-US" sz="1200">
                          <a:latin typeface="Arial"/>
                        </a:rPr>
                        <a:t>People of lower status because of occupation, education, income, or rural habitat</a:t>
                      </a:r>
                    </a:p>
                  </a:txBody>
                  <a:tcPr/>
                </a:tc>
                <a:extLst>
                  <a:ext uri="{0D108BD9-81ED-4DB2-BD59-A6C34878D82A}">
                    <a16:rowId xmlns:a16="http://schemas.microsoft.com/office/drawing/2014/main" val="3405833789"/>
                  </a:ext>
                </a:extLst>
              </a:tr>
              <a:tr h="370840">
                <a:tc>
                  <a:txBody>
                    <a:bodyPr/>
                    <a:lstStyle/>
                    <a:p>
                      <a:r>
                        <a:rPr lang="en-US" sz="1200" b="1">
                          <a:latin typeface="Arial"/>
                        </a:rPr>
                        <a:t>Sexual Orientation</a:t>
                      </a:r>
                    </a:p>
                  </a:txBody>
                  <a:tcPr/>
                </a:tc>
                <a:tc>
                  <a:txBody>
                    <a:bodyPr/>
                    <a:lstStyle/>
                    <a:p>
                      <a:r>
                        <a:rPr lang="en-US" sz="1200">
                          <a:latin typeface="Arial"/>
                        </a:rPr>
                        <a:t>Heterosexuals</a:t>
                      </a:r>
                    </a:p>
                  </a:txBody>
                  <a:tcPr/>
                </a:tc>
                <a:tc>
                  <a:txBody>
                    <a:bodyPr/>
                    <a:lstStyle/>
                    <a:p>
                      <a:r>
                        <a:rPr lang="en-US" sz="1200">
                          <a:latin typeface="Arial"/>
                        </a:rPr>
                        <a:t>Gays, lesbians, and bisexual people</a:t>
                      </a:r>
                    </a:p>
                  </a:txBody>
                  <a:tcPr/>
                </a:tc>
                <a:extLst>
                  <a:ext uri="{0D108BD9-81ED-4DB2-BD59-A6C34878D82A}">
                    <a16:rowId xmlns:a16="http://schemas.microsoft.com/office/drawing/2014/main" val="601997553"/>
                  </a:ext>
                </a:extLst>
              </a:tr>
              <a:tr h="370839">
                <a:tc>
                  <a:txBody>
                    <a:bodyPr/>
                    <a:lstStyle/>
                    <a:p>
                      <a:pPr lvl="0">
                        <a:buNone/>
                      </a:pPr>
                      <a:r>
                        <a:rPr lang="en-US" sz="1200" b="1">
                          <a:latin typeface="Arial"/>
                        </a:rPr>
                        <a:t>Indigenous Heritage</a:t>
                      </a:r>
                    </a:p>
                  </a:txBody>
                  <a:tcPr/>
                </a:tc>
                <a:tc>
                  <a:txBody>
                    <a:bodyPr/>
                    <a:lstStyle/>
                    <a:p>
                      <a:pPr lvl="0">
                        <a:buNone/>
                      </a:pPr>
                      <a:r>
                        <a:rPr lang="en-US" sz="1200">
                          <a:latin typeface="Arial"/>
                        </a:rPr>
                        <a:t>Non-native</a:t>
                      </a:r>
                    </a:p>
                  </a:txBody>
                  <a:tcPr/>
                </a:tc>
                <a:tc>
                  <a:txBody>
                    <a:bodyPr/>
                    <a:lstStyle/>
                    <a:p>
                      <a:pPr lvl="0">
                        <a:buNone/>
                      </a:pPr>
                      <a:r>
                        <a:rPr lang="en-US" sz="1200">
                          <a:latin typeface="Arial"/>
                        </a:rPr>
                        <a:t>Native</a:t>
                      </a:r>
                    </a:p>
                  </a:txBody>
                  <a:tcPr/>
                </a:tc>
                <a:extLst>
                  <a:ext uri="{0D108BD9-81ED-4DB2-BD59-A6C34878D82A}">
                    <a16:rowId xmlns:a16="http://schemas.microsoft.com/office/drawing/2014/main" val="1355880905"/>
                  </a:ext>
                </a:extLst>
              </a:tr>
              <a:tr h="370838">
                <a:tc>
                  <a:txBody>
                    <a:bodyPr/>
                    <a:lstStyle/>
                    <a:p>
                      <a:pPr lvl="0">
                        <a:buNone/>
                      </a:pPr>
                      <a:r>
                        <a:rPr lang="en-US" sz="1200" b="1">
                          <a:latin typeface="Arial"/>
                        </a:rPr>
                        <a:t>National Origin</a:t>
                      </a:r>
                    </a:p>
                  </a:txBody>
                  <a:tcPr/>
                </a:tc>
                <a:tc>
                  <a:txBody>
                    <a:bodyPr/>
                    <a:lstStyle/>
                    <a:p>
                      <a:pPr lvl="0">
                        <a:buNone/>
                      </a:pPr>
                      <a:r>
                        <a:rPr lang="en-US" sz="1200">
                          <a:latin typeface="Arial"/>
                        </a:rPr>
                        <a:t>U.S. born</a:t>
                      </a:r>
                    </a:p>
                  </a:txBody>
                  <a:tcPr/>
                </a:tc>
                <a:tc>
                  <a:txBody>
                    <a:bodyPr/>
                    <a:lstStyle/>
                    <a:p>
                      <a:pPr lvl="0">
                        <a:buNone/>
                      </a:pPr>
                      <a:r>
                        <a:rPr lang="en-US" sz="1200">
                          <a:latin typeface="Arial"/>
                        </a:rPr>
                        <a:t>Immigrants, refugees, and international students</a:t>
                      </a:r>
                    </a:p>
                  </a:txBody>
                  <a:tcPr/>
                </a:tc>
                <a:extLst>
                  <a:ext uri="{0D108BD9-81ED-4DB2-BD59-A6C34878D82A}">
                    <a16:rowId xmlns:a16="http://schemas.microsoft.com/office/drawing/2014/main" val="1763674079"/>
                  </a:ext>
                </a:extLst>
              </a:tr>
              <a:tr h="370838">
                <a:tc>
                  <a:txBody>
                    <a:bodyPr/>
                    <a:lstStyle/>
                    <a:p>
                      <a:pPr lvl="0">
                        <a:buNone/>
                      </a:pPr>
                      <a:r>
                        <a:rPr lang="en-US" sz="1200" b="1">
                          <a:latin typeface="Arial"/>
                        </a:rPr>
                        <a:t>Gender</a:t>
                      </a:r>
                    </a:p>
                  </a:txBody>
                  <a:tcPr/>
                </a:tc>
                <a:tc>
                  <a:txBody>
                    <a:bodyPr/>
                    <a:lstStyle/>
                    <a:p>
                      <a:pPr lvl="0">
                        <a:buNone/>
                      </a:pPr>
                      <a:r>
                        <a:rPr lang="en-US" sz="1200">
                          <a:latin typeface="Arial"/>
                        </a:rPr>
                        <a:t>Male</a:t>
                      </a:r>
                    </a:p>
                  </a:txBody>
                  <a:tcPr/>
                </a:tc>
                <a:tc>
                  <a:txBody>
                    <a:bodyPr/>
                    <a:lstStyle/>
                    <a:p>
                      <a:pPr lvl="0">
                        <a:buNone/>
                      </a:pPr>
                      <a:r>
                        <a:rPr lang="en-US" sz="1200">
                          <a:latin typeface="Arial"/>
                        </a:rPr>
                        <a:t>Women, transgender, and intersex people</a:t>
                      </a:r>
                    </a:p>
                  </a:txBody>
                  <a:tcPr/>
                </a:tc>
                <a:extLst>
                  <a:ext uri="{0D108BD9-81ED-4DB2-BD59-A6C34878D82A}">
                    <a16:rowId xmlns:a16="http://schemas.microsoft.com/office/drawing/2014/main" val="3141241993"/>
                  </a:ext>
                </a:extLst>
              </a:tr>
            </a:tbl>
          </a:graphicData>
        </a:graphic>
      </p:graphicFrame>
      <p:sp>
        <p:nvSpPr>
          <p:cNvPr id="7" name="TextBox 6">
            <a:extLst>
              <a:ext uri="{FF2B5EF4-FFF2-40B4-BE49-F238E27FC236}">
                <a16:creationId xmlns:a16="http://schemas.microsoft.com/office/drawing/2014/main" id="{8E497AFF-031D-4874-1E27-E513F515DAC8}"/>
              </a:ext>
            </a:extLst>
          </p:cNvPr>
          <p:cNvSpPr txBox="1"/>
          <p:nvPr/>
        </p:nvSpPr>
        <p:spPr>
          <a:xfrm>
            <a:off x="596827" y="5415350"/>
            <a:ext cx="10986438"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100">
                <a:latin typeface="Arial"/>
                <a:ea typeface="+mn-lt"/>
                <a:cs typeface="Arial"/>
              </a:rPr>
              <a:t>Hays, P. A. (2001). Addressing Cultural Complexities in Practice: A Framework for Clinicians and Counselors. Washington, D. C.: American Psychological Association.</a:t>
            </a:r>
            <a:endParaRPr lang="en-US" sz="1100">
              <a:latin typeface="Arial"/>
              <a:cs typeface="Arial"/>
            </a:endParaRPr>
          </a:p>
          <a:p>
            <a:r>
              <a:rPr lang="en-US" sz="1100">
                <a:latin typeface="Arial"/>
                <a:ea typeface="+mn-lt"/>
                <a:cs typeface="Arial"/>
              </a:rPr>
              <a:t>*Please note: The influences and examples of corresponding minority groups provided within the A.D.D.R.E.S.S.I.N.G. model are applicable within United States and Canada.</a:t>
            </a:r>
            <a:endParaRPr lang="en-US" sz="1100">
              <a:latin typeface="Arial"/>
              <a:cs typeface="Arial"/>
            </a:endParaRPr>
          </a:p>
        </p:txBody>
      </p:sp>
    </p:spTree>
    <p:extLst>
      <p:ext uri="{BB962C8B-B14F-4D97-AF65-F5344CB8AC3E}">
        <p14:creationId xmlns:p14="http://schemas.microsoft.com/office/powerpoint/2010/main" val="34073649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EqNpGyHPRgmPcMgzYNCb.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F3Os9IHqSZuzl5yQO9zg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OLKF2QXRKeMDLsebjrOC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9RA.z9TCW2.XFHN4OE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hpyM4uFQ1O.hFO5rFUkr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tT3Uyw2_T1Wj90SPW1vf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q6TFT3H0TNevVMM4QryAS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IrLC5xQ3QB.wmD4ZkfTmBw"/>
</p:tagLst>
</file>

<file path=ppt/theme/theme1.xml><?xml version="1.0" encoding="utf-8"?>
<a:theme xmlns:a="http://schemas.openxmlformats.org/drawingml/2006/main" name="4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E552E182AEDE545BD847C2ABA86AAC9" ma:contentTypeVersion="6" ma:contentTypeDescription="Create a new document." ma:contentTypeScope="" ma:versionID="b5ecd5fb5c6ab9803004f071b489ae2d">
  <xsd:schema xmlns:xsd="http://www.w3.org/2001/XMLSchema" xmlns:xs="http://www.w3.org/2001/XMLSchema" xmlns:p="http://schemas.microsoft.com/office/2006/metadata/properties" xmlns:ns2="c6bbd55b-00ac-478b-ae1c-e850938eb330" xmlns:ns3="95148cc4-c8b8-4934-9547-bc6142f2821c" targetNamespace="http://schemas.microsoft.com/office/2006/metadata/properties" ma:root="true" ma:fieldsID="516f19db2f1a3d036c6183f5b467740b" ns2:_="" ns3:_="">
    <xsd:import namespace="c6bbd55b-00ac-478b-ae1c-e850938eb330"/>
    <xsd:import namespace="95148cc4-c8b8-4934-9547-bc6142f2821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6bbd55b-00ac-478b-ae1c-e850938eb33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5148cc4-c8b8-4934-9547-bc6142f2821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A865598-91AD-4EA8-85BD-FD860D3FCEE2}">
  <ds:schemaRefs>
    <ds:schemaRef ds:uri="95148cc4-c8b8-4934-9547-bc6142f2821c"/>
    <ds:schemaRef ds:uri="c6bbd55b-00ac-478b-ae1c-e850938eb33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103633E-5E43-4C29-A2C9-E82D17AE34D0}">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E3101292-A169-48C4-B670-C33A2D5645C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Application>Microsoft Office PowerPoint</Application>
  <PresentationFormat>Widescreen</PresentationFormat>
  <Slides>18</Slides>
  <Notes>18</Notes>
  <HiddenSlides>0</HiddenSlides>
  <ScaleCrop>false</ScaleCrop>
  <HeadingPairs>
    <vt:vector size="4" baseType="variant">
      <vt:variant>
        <vt:lpstr>Theme</vt:lpstr>
      </vt:variant>
      <vt:variant>
        <vt:i4>1</vt:i4>
      </vt:variant>
      <vt:variant>
        <vt:lpstr>Slide Titles</vt:lpstr>
      </vt:variant>
      <vt:variant>
        <vt:i4>18</vt:i4>
      </vt:variant>
    </vt:vector>
  </HeadingPairs>
  <TitlesOfParts>
    <vt:vector size="19" baseType="lpstr">
      <vt:lpstr>4_Office Theme</vt:lpstr>
      <vt:lpstr> </vt:lpstr>
      <vt:lpstr>Center for Minority Veterans (CMV)</vt:lpstr>
      <vt:lpstr>CMV Organizational Structure &amp; Team</vt:lpstr>
      <vt:lpstr>VA's Reach: Monthly Benefits</vt:lpstr>
      <vt:lpstr>VA's Reach: Monthly Benefits</vt:lpstr>
      <vt:lpstr>Did You Know?</vt:lpstr>
      <vt:lpstr>Did You Know?</vt:lpstr>
      <vt:lpstr>Rationale for Diversity Training</vt:lpstr>
      <vt:lpstr>Exercise: Exploring Your Personal Identity</vt:lpstr>
      <vt:lpstr>Exercise: Exploring Your Personal Identity</vt:lpstr>
      <vt:lpstr>Practical Tips: How Do We Put LGBTQ+ Veterans at Ease?</vt:lpstr>
      <vt:lpstr>LGBTQ+ Veteran Care and Services at VHA</vt:lpstr>
      <vt:lpstr>Discharge Upgrades for LGBTQ+ Veterans</vt:lpstr>
      <vt:lpstr>Diversity Beyond LGBTQ+</vt:lpstr>
      <vt:lpstr>Resources</vt:lpstr>
      <vt:lpstr>“When I was in the military they gave me a medal for killing two men and a discharge for loving one.”</vt:lpstr>
      <vt:lpstr>Sergeant Leonard Matlovich</vt:lpstr>
      <vt:lpstr>Connect with CMV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title>
  <dc:creator/>
  <cp:revision>17</cp:revision>
  <dcterms:created xsi:type="dcterms:W3CDTF">2024-10-09T15:11:51Z</dcterms:created>
  <dcterms:modified xsi:type="dcterms:W3CDTF">2024-10-15T19:21: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E552E182AEDE545BD847C2ABA86AAC9</vt:lpwstr>
  </property>
</Properties>
</file>